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notesSlides/notesSlide8.xml" ContentType="application/vnd.openxmlformats-officedocument.presentationml.notesSlide+xml"/>
  <Override PartName="/ppt/charts/chart8.xml" ContentType="application/vnd.openxmlformats-officedocument.drawingml.chart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notesSlides/notesSlide9.xml" ContentType="application/vnd.openxmlformats-officedocument.presentationml.notesSlide+xml"/>
  <Override PartName="/ppt/charts/chart9.xml" ContentType="application/vnd.openxmlformats-officedocument.drawingml.chart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10.xml" ContentType="application/vnd.openxmlformats-officedocument.drawingml.chart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ppt/tags/tag698.xml" ContentType="application/vnd.openxmlformats-officedocument.presentationml.tags+xml"/>
  <Override PartName="/ppt/tags/tag699.xml" ContentType="application/vnd.openxmlformats-officedocument.presentationml.tags+xml"/>
  <Override PartName="/ppt/tags/tag700.xml" ContentType="application/vnd.openxmlformats-officedocument.presentationml.tags+xml"/>
  <Override PartName="/ppt/tags/tag701.xml" ContentType="application/vnd.openxmlformats-officedocument.presentationml.tags+xml"/>
  <Override PartName="/ppt/tags/tag702.xml" ContentType="application/vnd.openxmlformats-officedocument.presentationml.tags+xml"/>
  <Override PartName="/ppt/tags/tag703.xml" ContentType="application/vnd.openxmlformats-officedocument.presentationml.tags+xml"/>
  <Override PartName="/ppt/tags/tag704.xml" ContentType="application/vnd.openxmlformats-officedocument.presentationml.tags+xml"/>
  <Override PartName="/ppt/tags/tag705.xml" ContentType="application/vnd.openxmlformats-officedocument.presentationml.tags+xml"/>
  <Override PartName="/ppt/tags/tag706.xml" ContentType="application/vnd.openxmlformats-officedocument.presentationml.tags+xml"/>
  <Override PartName="/ppt/tags/tag707.xml" ContentType="application/vnd.openxmlformats-officedocument.presentationml.tags+xml"/>
  <Override PartName="/ppt/tags/tag708.xml" ContentType="application/vnd.openxmlformats-officedocument.presentationml.tags+xml"/>
  <Override PartName="/ppt/tags/tag709.xml" ContentType="application/vnd.openxmlformats-officedocument.presentationml.tags+xml"/>
  <Override PartName="/ppt/tags/tag710.xml" ContentType="application/vnd.openxmlformats-officedocument.presentationml.tags+xml"/>
  <Override PartName="/ppt/tags/tag711.xml" ContentType="application/vnd.openxmlformats-officedocument.presentationml.tags+xml"/>
  <Override PartName="/ppt/tags/tag712.xml" ContentType="application/vnd.openxmlformats-officedocument.presentationml.tags+xml"/>
  <Override PartName="/ppt/tags/tag713.xml" ContentType="application/vnd.openxmlformats-officedocument.presentationml.tags+xml"/>
  <Override PartName="/ppt/tags/tag714.xml" ContentType="application/vnd.openxmlformats-officedocument.presentationml.tags+xml"/>
  <Override PartName="/ppt/tags/tag715.xml" ContentType="application/vnd.openxmlformats-officedocument.presentationml.tags+xml"/>
  <Override PartName="/ppt/tags/tag716.xml" ContentType="application/vnd.openxmlformats-officedocument.presentationml.tags+xml"/>
  <Override PartName="/ppt/tags/tag717.xml" ContentType="application/vnd.openxmlformats-officedocument.presentationml.tags+xml"/>
  <Override PartName="/ppt/tags/tag718.xml" ContentType="application/vnd.openxmlformats-officedocument.presentationml.tags+xml"/>
  <Override PartName="/ppt/tags/tag719.xml" ContentType="application/vnd.openxmlformats-officedocument.presentationml.tags+xml"/>
  <Override PartName="/ppt/tags/tag720.xml" ContentType="application/vnd.openxmlformats-officedocument.presentationml.tags+xml"/>
  <Override PartName="/ppt/tags/tag721.xml" ContentType="application/vnd.openxmlformats-officedocument.presentationml.tags+xml"/>
  <Override PartName="/ppt/tags/tag722.xml" ContentType="application/vnd.openxmlformats-officedocument.presentationml.tags+xml"/>
  <Override PartName="/ppt/tags/tag723.xml" ContentType="application/vnd.openxmlformats-officedocument.presentationml.tags+xml"/>
  <Override PartName="/ppt/tags/tag724.xml" ContentType="application/vnd.openxmlformats-officedocument.presentationml.tags+xml"/>
  <Override PartName="/ppt/tags/tag725.xml" ContentType="application/vnd.openxmlformats-officedocument.presentationml.tags+xml"/>
  <Override PartName="/ppt/tags/tag726.xml" ContentType="application/vnd.openxmlformats-officedocument.presentationml.tags+xml"/>
  <Override PartName="/ppt/tags/tag727.xml" ContentType="application/vnd.openxmlformats-officedocument.presentationml.tags+xml"/>
  <Override PartName="/ppt/tags/tag728.xml" ContentType="application/vnd.openxmlformats-officedocument.presentationml.tags+xml"/>
  <Override PartName="/ppt/tags/tag729.xml" ContentType="application/vnd.openxmlformats-officedocument.presentationml.tags+xml"/>
  <Override PartName="/ppt/tags/tag730.xml" ContentType="application/vnd.openxmlformats-officedocument.presentationml.tags+xml"/>
  <Override PartName="/ppt/tags/tag731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11.xml" ContentType="application/vnd.openxmlformats-officedocument.drawingml.chart+xml"/>
  <Override PartName="/ppt/tags/tag732.xml" ContentType="application/vnd.openxmlformats-officedocument.presentationml.tags+xml"/>
  <Override PartName="/ppt/tags/tag733.xml" ContentType="application/vnd.openxmlformats-officedocument.presentationml.tags+xml"/>
  <Override PartName="/ppt/tags/tag734.xml" ContentType="application/vnd.openxmlformats-officedocument.presentationml.tags+xml"/>
  <Override PartName="/ppt/tags/tag735.xml" ContentType="application/vnd.openxmlformats-officedocument.presentationml.tags+xml"/>
  <Override PartName="/ppt/tags/tag736.xml" ContentType="application/vnd.openxmlformats-officedocument.presentationml.tags+xml"/>
  <Override PartName="/ppt/tags/tag737.xml" ContentType="application/vnd.openxmlformats-officedocument.presentationml.tags+xml"/>
  <Override PartName="/ppt/tags/tag738.xml" ContentType="application/vnd.openxmlformats-officedocument.presentationml.tags+xml"/>
  <Override PartName="/ppt/tags/tag739.xml" ContentType="application/vnd.openxmlformats-officedocument.presentationml.tags+xml"/>
  <Override PartName="/ppt/tags/tag740.xml" ContentType="application/vnd.openxmlformats-officedocument.presentationml.tags+xml"/>
  <Override PartName="/ppt/tags/tag741.xml" ContentType="application/vnd.openxmlformats-officedocument.presentationml.tags+xml"/>
  <Override PartName="/ppt/tags/tag742.xml" ContentType="application/vnd.openxmlformats-officedocument.presentationml.tags+xml"/>
  <Override PartName="/ppt/tags/tag743.xml" ContentType="application/vnd.openxmlformats-officedocument.presentationml.tags+xml"/>
  <Override PartName="/ppt/tags/tag744.xml" ContentType="application/vnd.openxmlformats-officedocument.presentationml.tags+xml"/>
  <Override PartName="/ppt/tags/tag745.xml" ContentType="application/vnd.openxmlformats-officedocument.presentationml.tags+xml"/>
  <Override PartName="/ppt/tags/tag746.xml" ContentType="application/vnd.openxmlformats-officedocument.presentationml.tags+xml"/>
  <Override PartName="/ppt/tags/tag747.xml" ContentType="application/vnd.openxmlformats-officedocument.presentationml.tags+xml"/>
  <Override PartName="/ppt/tags/tag748.xml" ContentType="application/vnd.openxmlformats-officedocument.presentationml.tags+xml"/>
  <Override PartName="/ppt/tags/tag749.xml" ContentType="application/vnd.openxmlformats-officedocument.presentationml.tags+xml"/>
  <Override PartName="/ppt/tags/tag750.xml" ContentType="application/vnd.openxmlformats-officedocument.presentationml.tags+xml"/>
  <Override PartName="/ppt/tags/tag751.xml" ContentType="application/vnd.openxmlformats-officedocument.presentationml.tags+xml"/>
  <Override PartName="/ppt/tags/tag752.xml" ContentType="application/vnd.openxmlformats-officedocument.presentationml.tags+xml"/>
  <Override PartName="/ppt/tags/tag753.xml" ContentType="application/vnd.openxmlformats-officedocument.presentationml.tags+xml"/>
  <Override PartName="/ppt/tags/tag754.xml" ContentType="application/vnd.openxmlformats-officedocument.presentationml.tags+xml"/>
  <Override PartName="/ppt/tags/tag755.xml" ContentType="application/vnd.openxmlformats-officedocument.presentationml.tags+xml"/>
  <Override PartName="/ppt/tags/tag756.xml" ContentType="application/vnd.openxmlformats-officedocument.presentationml.tags+xml"/>
  <Override PartName="/ppt/tags/tag757.xml" ContentType="application/vnd.openxmlformats-officedocument.presentationml.tags+xml"/>
  <Override PartName="/ppt/tags/tag758.xml" ContentType="application/vnd.openxmlformats-officedocument.presentationml.tags+xml"/>
  <Override PartName="/ppt/tags/tag759.xml" ContentType="application/vnd.openxmlformats-officedocument.presentationml.tags+xml"/>
  <Override PartName="/ppt/tags/tag760.xml" ContentType="application/vnd.openxmlformats-officedocument.presentationml.tags+xml"/>
  <Override PartName="/ppt/tags/tag761.xml" ContentType="application/vnd.openxmlformats-officedocument.presentationml.tags+xml"/>
  <Override PartName="/ppt/tags/tag762.xml" ContentType="application/vnd.openxmlformats-officedocument.presentationml.tags+xml"/>
  <Override PartName="/ppt/tags/tag763.xml" ContentType="application/vnd.openxmlformats-officedocument.presentationml.tags+xml"/>
  <Override PartName="/ppt/tags/tag764.xml" ContentType="application/vnd.openxmlformats-officedocument.presentationml.tags+xml"/>
  <Override PartName="/ppt/tags/tag765.xml" ContentType="application/vnd.openxmlformats-officedocument.presentationml.tags+xml"/>
  <Override PartName="/ppt/tags/tag766.xml" ContentType="application/vnd.openxmlformats-officedocument.presentationml.tags+xml"/>
  <Override PartName="/ppt/tags/tag767.xml" ContentType="application/vnd.openxmlformats-officedocument.presentationml.tags+xml"/>
  <Override PartName="/ppt/tags/tag768.xml" ContentType="application/vnd.openxmlformats-officedocument.presentationml.tags+xml"/>
  <Override PartName="/ppt/tags/tag769.xml" ContentType="application/vnd.openxmlformats-officedocument.presentationml.tags+xml"/>
  <Override PartName="/ppt/tags/tag770.xml" ContentType="application/vnd.openxmlformats-officedocument.presentationml.tags+xml"/>
  <Override PartName="/ppt/tags/tag771.xml" ContentType="application/vnd.openxmlformats-officedocument.presentationml.tags+xml"/>
  <Override PartName="/ppt/tags/tag772.xml" ContentType="application/vnd.openxmlformats-officedocument.presentationml.tags+xml"/>
  <Override PartName="/ppt/tags/tag773.xml" ContentType="application/vnd.openxmlformats-officedocument.presentationml.tags+xml"/>
  <Override PartName="/ppt/tags/tag774.xml" ContentType="application/vnd.openxmlformats-officedocument.presentationml.tags+xml"/>
  <Override PartName="/ppt/tags/tag775.xml" ContentType="application/vnd.openxmlformats-officedocument.presentationml.tags+xml"/>
  <Override PartName="/ppt/tags/tag776.xml" ContentType="application/vnd.openxmlformats-officedocument.presentationml.tags+xml"/>
  <Override PartName="/ppt/tags/tag777.xml" ContentType="application/vnd.openxmlformats-officedocument.presentationml.tags+xml"/>
  <Override PartName="/ppt/tags/tag778.xml" ContentType="application/vnd.openxmlformats-officedocument.presentationml.tags+xml"/>
  <Override PartName="/ppt/tags/tag779.xml" ContentType="application/vnd.openxmlformats-officedocument.presentationml.tags+xml"/>
  <Override PartName="/ppt/tags/tag780.xml" ContentType="application/vnd.openxmlformats-officedocument.presentationml.tags+xml"/>
  <Override PartName="/ppt/tags/tag781.xml" ContentType="application/vnd.openxmlformats-officedocument.presentationml.tags+xml"/>
  <Override PartName="/ppt/tags/tag782.xml" ContentType="application/vnd.openxmlformats-officedocument.presentationml.tags+xml"/>
  <Override PartName="/ppt/tags/tag783.xml" ContentType="application/vnd.openxmlformats-officedocument.presentationml.tags+xml"/>
  <Override PartName="/ppt/tags/tag784.xml" ContentType="application/vnd.openxmlformats-officedocument.presentationml.tags+xml"/>
  <Override PartName="/ppt/tags/tag785.xml" ContentType="application/vnd.openxmlformats-officedocument.presentationml.tags+xml"/>
  <Override PartName="/ppt/tags/tag786.xml" ContentType="application/vnd.openxmlformats-officedocument.presentationml.tags+xml"/>
  <Override PartName="/ppt/tags/tag787.xml" ContentType="application/vnd.openxmlformats-officedocument.presentationml.tags+xml"/>
  <Override PartName="/ppt/tags/tag788.xml" ContentType="application/vnd.openxmlformats-officedocument.presentationml.tags+xml"/>
  <Override PartName="/ppt/tags/tag789.xml" ContentType="application/vnd.openxmlformats-officedocument.presentationml.tags+xml"/>
  <Override PartName="/ppt/tags/tag790.xml" ContentType="application/vnd.openxmlformats-officedocument.presentationml.tags+xml"/>
  <Override PartName="/ppt/tags/tag791.xml" ContentType="application/vnd.openxmlformats-officedocument.presentationml.tags+xml"/>
  <Override PartName="/ppt/tags/tag792.xml" ContentType="application/vnd.openxmlformats-officedocument.presentationml.tags+xml"/>
  <Override PartName="/ppt/tags/tag793.xml" ContentType="application/vnd.openxmlformats-officedocument.presentationml.tags+xml"/>
  <Override PartName="/ppt/tags/tag794.xml" ContentType="application/vnd.openxmlformats-officedocument.presentationml.tags+xml"/>
  <Override PartName="/ppt/tags/tag795.xml" ContentType="application/vnd.openxmlformats-officedocument.presentationml.tags+xml"/>
  <Override PartName="/ppt/tags/tag796.xml" ContentType="application/vnd.openxmlformats-officedocument.presentationml.tags+xml"/>
  <Override PartName="/ppt/tags/tag797.xml" ContentType="application/vnd.openxmlformats-officedocument.presentationml.tags+xml"/>
  <Override PartName="/ppt/tags/tag798.xml" ContentType="application/vnd.openxmlformats-officedocument.presentationml.tags+xml"/>
  <Override PartName="/ppt/tags/tag799.xml" ContentType="application/vnd.openxmlformats-officedocument.presentationml.tags+xml"/>
  <Override PartName="/ppt/tags/tag800.xml" ContentType="application/vnd.openxmlformats-officedocument.presentationml.tags+xml"/>
  <Override PartName="/ppt/tags/tag801.xml" ContentType="application/vnd.openxmlformats-officedocument.presentationml.tags+xml"/>
  <Override PartName="/ppt/tags/tag802.xml" ContentType="application/vnd.openxmlformats-officedocument.presentationml.tags+xml"/>
  <Override PartName="/ppt/tags/tag803.xml" ContentType="application/vnd.openxmlformats-officedocument.presentationml.tags+xml"/>
  <Override PartName="/ppt/tags/tag804.xml" ContentType="application/vnd.openxmlformats-officedocument.presentationml.tags+xml"/>
  <Override PartName="/ppt/tags/tag805.xml" ContentType="application/vnd.openxmlformats-officedocument.presentationml.tags+xml"/>
  <Override PartName="/ppt/tags/tag806.xml" ContentType="application/vnd.openxmlformats-officedocument.presentationml.tags+xml"/>
  <Override PartName="/ppt/tags/tag807.xml" ContentType="application/vnd.openxmlformats-officedocument.presentationml.tags+xml"/>
  <Override PartName="/ppt/tags/tag808.xml" ContentType="application/vnd.openxmlformats-officedocument.presentationml.tags+xml"/>
  <Override PartName="/ppt/tags/tag809.xml" ContentType="application/vnd.openxmlformats-officedocument.presentationml.tags+xml"/>
  <Override PartName="/ppt/tags/tag810.xml" ContentType="application/vnd.openxmlformats-officedocument.presentationml.tags+xml"/>
  <Override PartName="/ppt/tags/tag811.xml" ContentType="application/vnd.openxmlformats-officedocument.presentationml.tags+xml"/>
  <Override PartName="/ppt/tags/tag812.xml" ContentType="application/vnd.openxmlformats-officedocument.presentationml.tags+xml"/>
  <Override PartName="/ppt/tags/tag813.xml" ContentType="application/vnd.openxmlformats-officedocument.presentationml.tags+xml"/>
  <Override PartName="/ppt/tags/tag814.xml" ContentType="application/vnd.openxmlformats-officedocument.presentationml.tags+xml"/>
  <Override PartName="/ppt/tags/tag815.xml" ContentType="application/vnd.openxmlformats-officedocument.presentationml.tags+xml"/>
  <Override PartName="/ppt/tags/tag81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12.xml" ContentType="application/vnd.openxmlformats-officedocument.drawingml.chart+xml"/>
  <Override PartName="/ppt/tags/tag817.xml" ContentType="application/vnd.openxmlformats-officedocument.presentationml.tags+xml"/>
  <Override PartName="/ppt/tags/tag818.xml" ContentType="application/vnd.openxmlformats-officedocument.presentationml.tags+xml"/>
  <Override PartName="/ppt/tags/tag819.xml" ContentType="application/vnd.openxmlformats-officedocument.presentationml.tags+xml"/>
  <Override PartName="/ppt/tags/tag820.xml" ContentType="application/vnd.openxmlformats-officedocument.presentationml.tags+xml"/>
  <Override PartName="/ppt/tags/tag821.xml" ContentType="application/vnd.openxmlformats-officedocument.presentationml.tags+xml"/>
  <Override PartName="/ppt/tags/tag822.xml" ContentType="application/vnd.openxmlformats-officedocument.presentationml.tags+xml"/>
  <Override PartName="/ppt/tags/tag823.xml" ContentType="application/vnd.openxmlformats-officedocument.presentationml.tags+xml"/>
  <Override PartName="/ppt/tags/tag824.xml" ContentType="application/vnd.openxmlformats-officedocument.presentationml.tags+xml"/>
  <Override PartName="/ppt/tags/tag825.xml" ContentType="application/vnd.openxmlformats-officedocument.presentationml.tags+xml"/>
  <Override PartName="/ppt/tags/tag826.xml" ContentType="application/vnd.openxmlformats-officedocument.presentationml.tags+xml"/>
  <Override PartName="/ppt/tags/tag827.xml" ContentType="application/vnd.openxmlformats-officedocument.presentationml.tags+xml"/>
  <Override PartName="/ppt/tags/tag828.xml" ContentType="application/vnd.openxmlformats-officedocument.presentationml.tags+xml"/>
  <Override PartName="/ppt/tags/tag829.xml" ContentType="application/vnd.openxmlformats-officedocument.presentationml.tags+xml"/>
  <Override PartName="/ppt/tags/tag830.xml" ContentType="application/vnd.openxmlformats-officedocument.presentationml.tags+xml"/>
  <Override PartName="/ppt/tags/tag831.xml" ContentType="application/vnd.openxmlformats-officedocument.presentationml.tags+xml"/>
  <Override PartName="/ppt/tags/tag832.xml" ContentType="application/vnd.openxmlformats-officedocument.presentationml.tags+xml"/>
  <Override PartName="/ppt/tags/tag833.xml" ContentType="application/vnd.openxmlformats-officedocument.presentationml.tags+xml"/>
  <Override PartName="/ppt/tags/tag834.xml" ContentType="application/vnd.openxmlformats-officedocument.presentationml.tags+xml"/>
  <Override PartName="/ppt/tags/tag835.xml" ContentType="application/vnd.openxmlformats-officedocument.presentationml.tags+xml"/>
  <Override PartName="/ppt/tags/tag836.xml" ContentType="application/vnd.openxmlformats-officedocument.presentationml.tags+xml"/>
  <Override PartName="/ppt/tags/tag837.xml" ContentType="application/vnd.openxmlformats-officedocument.presentationml.tags+xml"/>
  <Override PartName="/ppt/tags/tag838.xml" ContentType="application/vnd.openxmlformats-officedocument.presentationml.tags+xml"/>
  <Override PartName="/ppt/tags/tag839.xml" ContentType="application/vnd.openxmlformats-officedocument.presentationml.tags+xml"/>
  <Override PartName="/ppt/tags/tag840.xml" ContentType="application/vnd.openxmlformats-officedocument.presentationml.tags+xml"/>
  <Override PartName="/ppt/tags/tag841.xml" ContentType="application/vnd.openxmlformats-officedocument.presentationml.tags+xml"/>
  <Override PartName="/ppt/tags/tag842.xml" ContentType="application/vnd.openxmlformats-officedocument.presentationml.tags+xml"/>
  <Override PartName="/ppt/tags/tag843.xml" ContentType="application/vnd.openxmlformats-officedocument.presentationml.tags+xml"/>
  <Override PartName="/ppt/tags/tag844.xml" ContentType="application/vnd.openxmlformats-officedocument.presentationml.tags+xml"/>
  <Override PartName="/ppt/tags/tag845.xml" ContentType="application/vnd.openxmlformats-officedocument.presentationml.tags+xml"/>
  <Override PartName="/ppt/tags/tag846.xml" ContentType="application/vnd.openxmlformats-officedocument.presentationml.tags+xml"/>
  <Override PartName="/ppt/tags/tag847.xml" ContentType="application/vnd.openxmlformats-officedocument.presentationml.tags+xml"/>
  <Override PartName="/ppt/tags/tag848.xml" ContentType="application/vnd.openxmlformats-officedocument.presentationml.tags+xml"/>
  <Override PartName="/ppt/tags/tag849.xml" ContentType="application/vnd.openxmlformats-officedocument.presentationml.tags+xml"/>
  <Override PartName="/ppt/tags/tag850.xml" ContentType="application/vnd.openxmlformats-officedocument.presentationml.tags+xml"/>
  <Override PartName="/ppt/tags/tag851.xml" ContentType="application/vnd.openxmlformats-officedocument.presentationml.tags+xml"/>
  <Override PartName="/ppt/tags/tag852.xml" ContentType="application/vnd.openxmlformats-officedocument.presentationml.tags+xml"/>
  <Override PartName="/ppt/tags/tag853.xml" ContentType="application/vnd.openxmlformats-officedocument.presentationml.tags+xml"/>
  <Override PartName="/ppt/tags/tag854.xml" ContentType="application/vnd.openxmlformats-officedocument.presentationml.tags+xml"/>
  <Override PartName="/ppt/tags/tag855.xml" ContentType="application/vnd.openxmlformats-officedocument.presentationml.tags+xml"/>
  <Override PartName="/ppt/tags/tag856.xml" ContentType="application/vnd.openxmlformats-officedocument.presentationml.tags+xml"/>
  <Override PartName="/ppt/tags/tag857.xml" ContentType="application/vnd.openxmlformats-officedocument.presentationml.tags+xml"/>
  <Override PartName="/ppt/tags/tag858.xml" ContentType="application/vnd.openxmlformats-officedocument.presentationml.tags+xml"/>
  <Override PartName="/ppt/tags/tag859.xml" ContentType="application/vnd.openxmlformats-officedocument.presentationml.tags+xml"/>
  <Override PartName="/ppt/tags/tag860.xml" ContentType="application/vnd.openxmlformats-officedocument.presentationml.tags+xml"/>
  <Override PartName="/ppt/tags/tag861.xml" ContentType="application/vnd.openxmlformats-officedocument.presentationml.tags+xml"/>
  <Override PartName="/ppt/tags/tag862.xml" ContentType="application/vnd.openxmlformats-officedocument.presentationml.tags+xml"/>
  <Override PartName="/ppt/tags/tag863.xml" ContentType="application/vnd.openxmlformats-officedocument.presentationml.tags+xml"/>
  <Override PartName="/ppt/tags/tag864.xml" ContentType="application/vnd.openxmlformats-officedocument.presentationml.tags+xml"/>
  <Override PartName="/ppt/tags/tag865.xml" ContentType="application/vnd.openxmlformats-officedocument.presentationml.tags+xml"/>
  <Override PartName="/ppt/tags/tag866.xml" ContentType="application/vnd.openxmlformats-officedocument.presentationml.tags+xml"/>
  <Override PartName="/ppt/tags/tag867.xml" ContentType="application/vnd.openxmlformats-officedocument.presentationml.tags+xml"/>
  <Override PartName="/ppt/tags/tag868.xml" ContentType="application/vnd.openxmlformats-officedocument.presentationml.tags+xml"/>
  <Override PartName="/ppt/tags/tag869.xml" ContentType="application/vnd.openxmlformats-officedocument.presentationml.tags+xml"/>
  <Override PartName="/ppt/tags/tag870.xml" ContentType="application/vnd.openxmlformats-officedocument.presentationml.tags+xml"/>
  <Override PartName="/ppt/tags/tag871.xml" ContentType="application/vnd.openxmlformats-officedocument.presentationml.tags+xml"/>
  <Override PartName="/ppt/tags/tag872.xml" ContentType="application/vnd.openxmlformats-officedocument.presentationml.tags+xml"/>
  <Override PartName="/ppt/tags/tag873.xml" ContentType="application/vnd.openxmlformats-officedocument.presentationml.tags+xml"/>
  <Override PartName="/ppt/tags/tag874.xml" ContentType="application/vnd.openxmlformats-officedocument.presentationml.tags+xml"/>
  <Override PartName="/ppt/tags/tag875.xml" ContentType="application/vnd.openxmlformats-officedocument.presentationml.tags+xml"/>
  <Override PartName="/ppt/tags/tag876.xml" ContentType="application/vnd.openxmlformats-officedocument.presentationml.tags+xml"/>
  <Override PartName="/ppt/tags/tag877.xml" ContentType="application/vnd.openxmlformats-officedocument.presentationml.tags+xml"/>
  <Override PartName="/ppt/notesSlides/notesSlide13.xml" ContentType="application/vnd.openxmlformats-officedocument.presentationml.notesSlide+xml"/>
  <Override PartName="/ppt/charts/chart13.xml" ContentType="application/vnd.openxmlformats-officedocument.drawingml.chart+xml"/>
  <Override PartName="/ppt/tags/tag878.xml" ContentType="application/vnd.openxmlformats-officedocument.presentationml.tags+xml"/>
  <Override PartName="/ppt/tags/tag879.xml" ContentType="application/vnd.openxmlformats-officedocument.presentationml.tags+xml"/>
  <Override PartName="/ppt/tags/tag880.xml" ContentType="application/vnd.openxmlformats-officedocument.presentationml.tags+xml"/>
  <Override PartName="/ppt/tags/tag881.xml" ContentType="application/vnd.openxmlformats-officedocument.presentationml.tags+xml"/>
  <Override PartName="/ppt/tags/tag882.xml" ContentType="application/vnd.openxmlformats-officedocument.presentationml.tags+xml"/>
  <Override PartName="/ppt/tags/tag883.xml" ContentType="application/vnd.openxmlformats-officedocument.presentationml.tags+xml"/>
  <Override PartName="/ppt/tags/tag884.xml" ContentType="application/vnd.openxmlformats-officedocument.presentationml.tags+xml"/>
  <Override PartName="/ppt/tags/tag885.xml" ContentType="application/vnd.openxmlformats-officedocument.presentationml.tags+xml"/>
  <Override PartName="/ppt/tags/tag886.xml" ContentType="application/vnd.openxmlformats-officedocument.presentationml.tags+xml"/>
  <Override PartName="/ppt/tags/tag887.xml" ContentType="application/vnd.openxmlformats-officedocument.presentationml.tags+xml"/>
  <Override PartName="/ppt/tags/tag888.xml" ContentType="application/vnd.openxmlformats-officedocument.presentationml.tags+xml"/>
  <Override PartName="/ppt/tags/tag889.xml" ContentType="application/vnd.openxmlformats-officedocument.presentationml.tags+xml"/>
  <Override PartName="/ppt/tags/tag890.xml" ContentType="application/vnd.openxmlformats-officedocument.presentationml.tags+xml"/>
  <Override PartName="/ppt/tags/tag891.xml" ContentType="application/vnd.openxmlformats-officedocument.presentationml.tags+xml"/>
  <Override PartName="/ppt/tags/tag892.xml" ContentType="application/vnd.openxmlformats-officedocument.presentationml.tags+xml"/>
  <Override PartName="/ppt/tags/tag893.xml" ContentType="application/vnd.openxmlformats-officedocument.presentationml.tags+xml"/>
  <Override PartName="/ppt/tags/tag894.xml" ContentType="application/vnd.openxmlformats-officedocument.presentationml.tags+xml"/>
  <Override PartName="/ppt/tags/tag895.xml" ContentType="application/vnd.openxmlformats-officedocument.presentationml.tags+xml"/>
  <Override PartName="/ppt/tags/tag896.xml" ContentType="application/vnd.openxmlformats-officedocument.presentationml.tags+xml"/>
  <Override PartName="/ppt/tags/tag897.xml" ContentType="application/vnd.openxmlformats-officedocument.presentationml.tags+xml"/>
  <Override PartName="/ppt/tags/tag898.xml" ContentType="application/vnd.openxmlformats-officedocument.presentationml.tags+xml"/>
  <Override PartName="/ppt/tags/tag899.xml" ContentType="application/vnd.openxmlformats-officedocument.presentationml.tags+xml"/>
  <Override PartName="/ppt/tags/tag900.xml" ContentType="application/vnd.openxmlformats-officedocument.presentationml.tags+xml"/>
  <Override PartName="/ppt/tags/tag901.xml" ContentType="application/vnd.openxmlformats-officedocument.presentationml.tags+xml"/>
  <Override PartName="/ppt/tags/tag902.xml" ContentType="application/vnd.openxmlformats-officedocument.presentationml.tags+xml"/>
  <Override PartName="/ppt/tags/tag903.xml" ContentType="application/vnd.openxmlformats-officedocument.presentationml.tags+xml"/>
  <Override PartName="/ppt/tags/tag904.xml" ContentType="application/vnd.openxmlformats-officedocument.presentationml.tags+xml"/>
  <Override PartName="/ppt/tags/tag905.xml" ContentType="application/vnd.openxmlformats-officedocument.presentationml.tags+xml"/>
  <Override PartName="/ppt/tags/tag906.xml" ContentType="application/vnd.openxmlformats-officedocument.presentationml.tags+xml"/>
  <Override PartName="/ppt/tags/tag907.xml" ContentType="application/vnd.openxmlformats-officedocument.presentationml.tags+xml"/>
  <Override PartName="/ppt/tags/tag908.xml" ContentType="application/vnd.openxmlformats-officedocument.presentationml.tags+xml"/>
  <Override PartName="/ppt/tags/tag909.xml" ContentType="application/vnd.openxmlformats-officedocument.presentationml.tags+xml"/>
  <Override PartName="/ppt/tags/tag910.xml" ContentType="application/vnd.openxmlformats-officedocument.presentationml.tags+xml"/>
  <Override PartName="/ppt/tags/tag911.xml" ContentType="application/vnd.openxmlformats-officedocument.presentationml.tags+xml"/>
  <Override PartName="/ppt/tags/tag912.xml" ContentType="application/vnd.openxmlformats-officedocument.presentationml.tags+xml"/>
  <Override PartName="/ppt/tags/tag913.xml" ContentType="application/vnd.openxmlformats-officedocument.presentationml.tags+xml"/>
  <Override PartName="/ppt/tags/tag914.xml" ContentType="application/vnd.openxmlformats-officedocument.presentationml.tags+xml"/>
  <Override PartName="/ppt/tags/tag915.xml" ContentType="application/vnd.openxmlformats-officedocument.presentationml.tags+xml"/>
  <Override PartName="/ppt/tags/tag916.xml" ContentType="application/vnd.openxmlformats-officedocument.presentationml.tags+xml"/>
  <Override PartName="/ppt/tags/tag917.xml" ContentType="application/vnd.openxmlformats-officedocument.presentationml.tags+xml"/>
  <Override PartName="/ppt/tags/tag918.xml" ContentType="application/vnd.openxmlformats-officedocument.presentationml.tags+xml"/>
  <Override PartName="/ppt/tags/tag919.xml" ContentType="application/vnd.openxmlformats-officedocument.presentationml.tags+xml"/>
  <Override PartName="/ppt/tags/tag920.xml" ContentType="application/vnd.openxmlformats-officedocument.presentationml.tags+xml"/>
  <Override PartName="/ppt/tags/tag921.xml" ContentType="application/vnd.openxmlformats-officedocument.presentationml.tags+xml"/>
  <Override PartName="/ppt/tags/tag922.xml" ContentType="application/vnd.openxmlformats-officedocument.presentationml.tags+xml"/>
  <Override PartName="/ppt/tags/tag923.xml" ContentType="application/vnd.openxmlformats-officedocument.presentationml.tags+xml"/>
  <Override PartName="/ppt/tags/tag924.xml" ContentType="application/vnd.openxmlformats-officedocument.presentationml.tags+xml"/>
  <Override PartName="/ppt/tags/tag925.xml" ContentType="application/vnd.openxmlformats-officedocument.presentationml.tags+xml"/>
  <Override PartName="/ppt/tags/tag926.xml" ContentType="application/vnd.openxmlformats-officedocument.presentationml.tags+xml"/>
  <Override PartName="/ppt/tags/tag927.xml" ContentType="application/vnd.openxmlformats-officedocument.presentationml.tags+xml"/>
  <Override PartName="/ppt/tags/tag928.xml" ContentType="application/vnd.openxmlformats-officedocument.presentationml.tags+xml"/>
  <Override PartName="/ppt/tags/tag929.xml" ContentType="application/vnd.openxmlformats-officedocument.presentationml.tags+xml"/>
  <Override PartName="/ppt/tags/tag930.xml" ContentType="application/vnd.openxmlformats-officedocument.presentationml.tags+xml"/>
  <Override PartName="/ppt/tags/tag931.xml" ContentType="application/vnd.openxmlformats-officedocument.presentationml.tags+xml"/>
  <Override PartName="/ppt/tags/tag932.xml" ContentType="application/vnd.openxmlformats-officedocument.presentationml.tags+xml"/>
  <Override PartName="/ppt/tags/tag933.xml" ContentType="application/vnd.openxmlformats-officedocument.presentationml.tags+xml"/>
  <Override PartName="/ppt/tags/tag934.xml" ContentType="application/vnd.openxmlformats-officedocument.presentationml.tags+xml"/>
  <Override PartName="/ppt/tags/tag935.xml" ContentType="application/vnd.openxmlformats-officedocument.presentationml.tags+xml"/>
  <Override PartName="/ppt/tags/tag936.xml" ContentType="application/vnd.openxmlformats-officedocument.presentationml.tags+xml"/>
  <Override PartName="/ppt/tags/tag937.xml" ContentType="application/vnd.openxmlformats-officedocument.presentationml.tags+xml"/>
  <Override PartName="/ppt/tags/tag938.xml" ContentType="application/vnd.openxmlformats-officedocument.presentationml.tags+xml"/>
  <Override PartName="/ppt/tags/tag939.xml" ContentType="application/vnd.openxmlformats-officedocument.presentationml.tags+xml"/>
  <Override PartName="/ppt/tags/tag940.xml" ContentType="application/vnd.openxmlformats-officedocument.presentationml.tags+xml"/>
  <Override PartName="/ppt/tags/tag941.xml" ContentType="application/vnd.openxmlformats-officedocument.presentationml.tags+xml"/>
  <Override PartName="/ppt/tags/tag942.xml" ContentType="application/vnd.openxmlformats-officedocument.presentationml.tags+xml"/>
  <Override PartName="/ppt/tags/tag943.xml" ContentType="application/vnd.openxmlformats-officedocument.presentationml.tags+xml"/>
  <Override PartName="/ppt/tags/tag944.xml" ContentType="application/vnd.openxmlformats-officedocument.presentationml.tags+xml"/>
  <Override PartName="/ppt/tags/tag945.xml" ContentType="application/vnd.openxmlformats-officedocument.presentationml.tags+xml"/>
  <Override PartName="/ppt/tags/tag946.xml" ContentType="application/vnd.openxmlformats-officedocument.presentationml.tags+xml"/>
  <Override PartName="/ppt/tags/tag947.xml" ContentType="application/vnd.openxmlformats-officedocument.presentationml.tags+xml"/>
  <Override PartName="/ppt/tags/tag948.xml" ContentType="application/vnd.openxmlformats-officedocument.presentationml.tags+xml"/>
  <Override PartName="/ppt/tags/tag949.xml" ContentType="application/vnd.openxmlformats-officedocument.presentationml.tags+xml"/>
  <Override PartName="/ppt/tags/tag950.xml" ContentType="application/vnd.openxmlformats-officedocument.presentationml.tags+xml"/>
  <Override PartName="/ppt/tags/tag951.xml" ContentType="application/vnd.openxmlformats-officedocument.presentationml.tags+xml"/>
  <Override PartName="/ppt/tags/tag952.xml" ContentType="application/vnd.openxmlformats-officedocument.presentationml.tags+xml"/>
  <Override PartName="/ppt/tags/tag953.xml" ContentType="application/vnd.openxmlformats-officedocument.presentationml.tags+xml"/>
  <Override PartName="/ppt/tags/tag954.xml" ContentType="application/vnd.openxmlformats-officedocument.presentationml.tags+xml"/>
  <Override PartName="/ppt/tags/tag955.xml" ContentType="application/vnd.openxmlformats-officedocument.presentationml.tags+xml"/>
  <Override PartName="/ppt/tags/tag956.xml" ContentType="application/vnd.openxmlformats-officedocument.presentationml.tags+xml"/>
  <Override PartName="/ppt/tags/tag957.xml" ContentType="application/vnd.openxmlformats-officedocument.presentationml.tags+xml"/>
  <Override PartName="/ppt/tags/tag958.xml" ContentType="application/vnd.openxmlformats-officedocument.presentationml.tags+xml"/>
  <Override PartName="/ppt/tags/tag959.xml" ContentType="application/vnd.openxmlformats-officedocument.presentationml.tags+xml"/>
  <Override PartName="/ppt/tags/tag960.xml" ContentType="application/vnd.openxmlformats-officedocument.presentationml.tags+xml"/>
  <Override PartName="/ppt/tags/tag961.xml" ContentType="application/vnd.openxmlformats-officedocument.presentationml.tags+xml"/>
  <Override PartName="/ppt/tags/tag962.xml" ContentType="application/vnd.openxmlformats-officedocument.presentationml.tags+xml"/>
  <Override PartName="/ppt/tags/tag963.xml" ContentType="application/vnd.openxmlformats-officedocument.presentationml.tags+xml"/>
  <Override PartName="/ppt/tags/tag964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4.xml" ContentType="application/vnd.openxmlformats-officedocument.drawingml.chart+xml"/>
  <Override PartName="/ppt/tags/tag965.xml" ContentType="application/vnd.openxmlformats-officedocument.presentationml.tags+xml"/>
  <Override PartName="/ppt/tags/tag966.xml" ContentType="application/vnd.openxmlformats-officedocument.presentationml.tags+xml"/>
  <Override PartName="/ppt/tags/tag967.xml" ContentType="application/vnd.openxmlformats-officedocument.presentationml.tags+xml"/>
  <Override PartName="/ppt/tags/tag968.xml" ContentType="application/vnd.openxmlformats-officedocument.presentationml.tags+xml"/>
  <Override PartName="/ppt/tags/tag969.xml" ContentType="application/vnd.openxmlformats-officedocument.presentationml.tags+xml"/>
  <Override PartName="/ppt/tags/tag970.xml" ContentType="application/vnd.openxmlformats-officedocument.presentationml.tags+xml"/>
  <Override PartName="/ppt/tags/tag971.xml" ContentType="application/vnd.openxmlformats-officedocument.presentationml.tags+xml"/>
  <Override PartName="/ppt/tags/tag972.xml" ContentType="application/vnd.openxmlformats-officedocument.presentationml.tags+xml"/>
  <Override PartName="/ppt/tags/tag973.xml" ContentType="application/vnd.openxmlformats-officedocument.presentationml.tags+xml"/>
  <Override PartName="/ppt/tags/tag974.xml" ContentType="application/vnd.openxmlformats-officedocument.presentationml.tags+xml"/>
  <Override PartName="/ppt/tags/tag975.xml" ContentType="application/vnd.openxmlformats-officedocument.presentationml.tags+xml"/>
  <Override PartName="/ppt/tags/tag976.xml" ContentType="application/vnd.openxmlformats-officedocument.presentationml.tags+xml"/>
  <Override PartName="/ppt/tags/tag977.xml" ContentType="application/vnd.openxmlformats-officedocument.presentationml.tags+xml"/>
  <Override PartName="/ppt/tags/tag978.xml" ContentType="application/vnd.openxmlformats-officedocument.presentationml.tags+xml"/>
  <Override PartName="/ppt/tags/tag979.xml" ContentType="application/vnd.openxmlformats-officedocument.presentationml.tags+xml"/>
  <Override PartName="/ppt/tags/tag980.xml" ContentType="application/vnd.openxmlformats-officedocument.presentationml.tags+xml"/>
  <Override PartName="/ppt/tags/tag981.xml" ContentType="application/vnd.openxmlformats-officedocument.presentationml.tags+xml"/>
  <Override PartName="/ppt/tags/tag982.xml" ContentType="application/vnd.openxmlformats-officedocument.presentationml.tags+xml"/>
  <Override PartName="/ppt/tags/tag983.xml" ContentType="application/vnd.openxmlformats-officedocument.presentationml.tags+xml"/>
  <Override PartName="/ppt/tags/tag984.xml" ContentType="application/vnd.openxmlformats-officedocument.presentationml.tags+xml"/>
  <Override PartName="/ppt/tags/tag985.xml" ContentType="application/vnd.openxmlformats-officedocument.presentationml.tags+xml"/>
  <Override PartName="/ppt/tags/tag986.xml" ContentType="application/vnd.openxmlformats-officedocument.presentationml.tags+xml"/>
  <Override PartName="/ppt/tags/tag987.xml" ContentType="application/vnd.openxmlformats-officedocument.presentationml.tags+xml"/>
  <Override PartName="/ppt/tags/tag988.xml" ContentType="application/vnd.openxmlformats-officedocument.presentationml.tags+xml"/>
  <Override PartName="/ppt/tags/tag989.xml" ContentType="application/vnd.openxmlformats-officedocument.presentationml.tags+xml"/>
  <Override PartName="/ppt/tags/tag990.xml" ContentType="application/vnd.openxmlformats-officedocument.presentationml.tags+xml"/>
  <Override PartName="/ppt/tags/tag991.xml" ContentType="application/vnd.openxmlformats-officedocument.presentationml.tags+xml"/>
  <Override PartName="/ppt/tags/tag992.xml" ContentType="application/vnd.openxmlformats-officedocument.presentationml.tags+xml"/>
  <Override PartName="/ppt/tags/tag993.xml" ContentType="application/vnd.openxmlformats-officedocument.presentationml.tags+xml"/>
  <Override PartName="/ppt/tags/tag994.xml" ContentType="application/vnd.openxmlformats-officedocument.presentationml.tags+xml"/>
  <Override PartName="/ppt/tags/tag995.xml" ContentType="application/vnd.openxmlformats-officedocument.presentationml.tags+xml"/>
  <Override PartName="/ppt/tags/tag996.xml" ContentType="application/vnd.openxmlformats-officedocument.presentationml.tags+xml"/>
  <Override PartName="/ppt/tags/tag997.xml" ContentType="application/vnd.openxmlformats-officedocument.presentationml.tags+xml"/>
  <Override PartName="/ppt/tags/tag998.xml" ContentType="application/vnd.openxmlformats-officedocument.presentationml.tags+xml"/>
  <Override PartName="/ppt/tags/tag999.xml" ContentType="application/vnd.openxmlformats-officedocument.presentationml.tags+xml"/>
  <Override PartName="/ppt/tags/tag1000.xml" ContentType="application/vnd.openxmlformats-officedocument.presentationml.tags+xml"/>
  <Override PartName="/ppt/tags/tag1001.xml" ContentType="application/vnd.openxmlformats-officedocument.presentationml.tags+xml"/>
  <Override PartName="/ppt/tags/tag1002.xml" ContentType="application/vnd.openxmlformats-officedocument.presentationml.tags+xml"/>
  <Override PartName="/ppt/tags/tag1003.xml" ContentType="application/vnd.openxmlformats-officedocument.presentationml.tags+xml"/>
  <Override PartName="/ppt/tags/tag1004.xml" ContentType="application/vnd.openxmlformats-officedocument.presentationml.tags+xml"/>
  <Override PartName="/ppt/tags/tag1005.xml" ContentType="application/vnd.openxmlformats-officedocument.presentationml.tags+xml"/>
  <Override PartName="/ppt/tags/tag1006.xml" ContentType="application/vnd.openxmlformats-officedocument.presentationml.tags+xml"/>
  <Override PartName="/ppt/tags/tag1007.xml" ContentType="application/vnd.openxmlformats-officedocument.presentationml.tags+xml"/>
  <Override PartName="/ppt/tags/tag1008.xml" ContentType="application/vnd.openxmlformats-officedocument.presentationml.tags+xml"/>
  <Override PartName="/ppt/tags/tag1009.xml" ContentType="application/vnd.openxmlformats-officedocument.presentationml.tags+xml"/>
  <Override PartName="/ppt/tags/tag1010.xml" ContentType="application/vnd.openxmlformats-officedocument.presentationml.tags+xml"/>
  <Override PartName="/ppt/tags/tag1011.xml" ContentType="application/vnd.openxmlformats-officedocument.presentationml.tags+xml"/>
  <Override PartName="/ppt/tags/tag1012.xml" ContentType="application/vnd.openxmlformats-officedocument.presentationml.tags+xml"/>
  <Override PartName="/ppt/tags/tag1013.xml" ContentType="application/vnd.openxmlformats-officedocument.presentationml.tags+xml"/>
  <Override PartName="/ppt/tags/tag1014.xml" ContentType="application/vnd.openxmlformats-officedocument.presentationml.tags+xml"/>
  <Override PartName="/ppt/tags/tag1015.xml" ContentType="application/vnd.openxmlformats-officedocument.presentationml.tags+xml"/>
  <Override PartName="/ppt/tags/tag1016.xml" ContentType="application/vnd.openxmlformats-officedocument.presentationml.tags+xml"/>
  <Override PartName="/ppt/tags/tag1017.xml" ContentType="application/vnd.openxmlformats-officedocument.presentationml.tags+xml"/>
  <Override PartName="/ppt/tags/tag1018.xml" ContentType="application/vnd.openxmlformats-officedocument.presentationml.tags+xml"/>
  <Override PartName="/ppt/tags/tag1019.xml" ContentType="application/vnd.openxmlformats-officedocument.presentationml.tags+xml"/>
  <Override PartName="/ppt/tags/tag1020.xml" ContentType="application/vnd.openxmlformats-officedocument.presentationml.tags+xml"/>
  <Override PartName="/ppt/tags/tag1021.xml" ContentType="application/vnd.openxmlformats-officedocument.presentationml.tags+xml"/>
  <Override PartName="/ppt/tags/tag1022.xml" ContentType="application/vnd.openxmlformats-officedocument.presentationml.tags+xml"/>
  <Override PartName="/ppt/tags/tag1023.xml" ContentType="application/vnd.openxmlformats-officedocument.presentationml.tags+xml"/>
  <Override PartName="/ppt/tags/tag1024.xml" ContentType="application/vnd.openxmlformats-officedocument.presentationml.tags+xml"/>
  <Override PartName="/ppt/tags/tag1025.xml" ContentType="application/vnd.openxmlformats-officedocument.presentationml.tags+xml"/>
  <Override PartName="/ppt/tags/tag1026.xml" ContentType="application/vnd.openxmlformats-officedocument.presentationml.tags+xml"/>
  <Override PartName="/ppt/notesSlides/notesSlide15.xml" ContentType="application/vnd.openxmlformats-officedocument.presentationml.notesSlide+xml"/>
  <Override PartName="/ppt/charts/chart15.xml" ContentType="application/vnd.openxmlformats-officedocument.drawingml.chart+xml"/>
  <Override PartName="/ppt/tags/tag1027.xml" ContentType="application/vnd.openxmlformats-officedocument.presentationml.tags+xml"/>
  <Override PartName="/ppt/tags/tag1028.xml" ContentType="application/vnd.openxmlformats-officedocument.presentationml.tags+xml"/>
  <Override PartName="/ppt/tags/tag1029.xml" ContentType="application/vnd.openxmlformats-officedocument.presentationml.tags+xml"/>
  <Override PartName="/ppt/tags/tag1030.xml" ContentType="application/vnd.openxmlformats-officedocument.presentationml.tags+xml"/>
  <Override PartName="/ppt/tags/tag1031.xml" ContentType="application/vnd.openxmlformats-officedocument.presentationml.tags+xml"/>
  <Override PartName="/ppt/tags/tag1032.xml" ContentType="application/vnd.openxmlformats-officedocument.presentationml.tags+xml"/>
  <Override PartName="/ppt/tags/tag1033.xml" ContentType="application/vnd.openxmlformats-officedocument.presentationml.tags+xml"/>
  <Override PartName="/ppt/tags/tag1034.xml" ContentType="application/vnd.openxmlformats-officedocument.presentationml.tags+xml"/>
  <Override PartName="/ppt/tags/tag1035.xml" ContentType="application/vnd.openxmlformats-officedocument.presentationml.tags+xml"/>
  <Override PartName="/ppt/tags/tag1036.xml" ContentType="application/vnd.openxmlformats-officedocument.presentationml.tags+xml"/>
  <Override PartName="/ppt/tags/tag1037.xml" ContentType="application/vnd.openxmlformats-officedocument.presentationml.tags+xml"/>
  <Override PartName="/ppt/tags/tag1038.xml" ContentType="application/vnd.openxmlformats-officedocument.presentationml.tags+xml"/>
  <Override PartName="/ppt/tags/tag1039.xml" ContentType="application/vnd.openxmlformats-officedocument.presentationml.tags+xml"/>
  <Override PartName="/ppt/tags/tag1040.xml" ContentType="application/vnd.openxmlformats-officedocument.presentationml.tags+xml"/>
  <Override PartName="/ppt/tags/tag1041.xml" ContentType="application/vnd.openxmlformats-officedocument.presentationml.tags+xml"/>
  <Override PartName="/ppt/tags/tag1042.xml" ContentType="application/vnd.openxmlformats-officedocument.presentationml.tags+xml"/>
  <Override PartName="/ppt/tags/tag1043.xml" ContentType="application/vnd.openxmlformats-officedocument.presentationml.tags+xml"/>
  <Override PartName="/ppt/tags/tag1044.xml" ContentType="application/vnd.openxmlformats-officedocument.presentationml.tags+xml"/>
  <Override PartName="/ppt/tags/tag1045.xml" ContentType="application/vnd.openxmlformats-officedocument.presentationml.tags+xml"/>
  <Override PartName="/ppt/tags/tag1046.xml" ContentType="application/vnd.openxmlformats-officedocument.presentationml.tags+xml"/>
  <Override PartName="/ppt/tags/tag1047.xml" ContentType="application/vnd.openxmlformats-officedocument.presentationml.tags+xml"/>
  <Override PartName="/ppt/tags/tag1048.xml" ContentType="application/vnd.openxmlformats-officedocument.presentationml.tags+xml"/>
  <Override PartName="/ppt/tags/tag1049.xml" ContentType="application/vnd.openxmlformats-officedocument.presentationml.tags+xml"/>
  <Override PartName="/ppt/tags/tag1050.xml" ContentType="application/vnd.openxmlformats-officedocument.presentationml.tags+xml"/>
  <Override PartName="/ppt/tags/tag1051.xml" ContentType="application/vnd.openxmlformats-officedocument.presentationml.tags+xml"/>
  <Override PartName="/ppt/tags/tag1052.xml" ContentType="application/vnd.openxmlformats-officedocument.presentationml.tags+xml"/>
  <Override PartName="/ppt/tags/tag1053.xml" ContentType="application/vnd.openxmlformats-officedocument.presentationml.tags+xml"/>
  <Override PartName="/ppt/tags/tag1054.xml" ContentType="application/vnd.openxmlformats-officedocument.presentationml.tags+xml"/>
  <Override PartName="/ppt/tags/tag1055.xml" ContentType="application/vnd.openxmlformats-officedocument.presentationml.tags+xml"/>
  <Override PartName="/ppt/tags/tag1056.xml" ContentType="application/vnd.openxmlformats-officedocument.presentationml.tags+xml"/>
  <Override PartName="/ppt/tags/tag1057.xml" ContentType="application/vnd.openxmlformats-officedocument.presentationml.tags+xml"/>
  <Override PartName="/ppt/tags/tag1058.xml" ContentType="application/vnd.openxmlformats-officedocument.presentationml.tags+xml"/>
  <Override PartName="/ppt/tags/tag1059.xml" ContentType="application/vnd.openxmlformats-officedocument.presentationml.tags+xml"/>
  <Override PartName="/ppt/tags/tag1060.xml" ContentType="application/vnd.openxmlformats-officedocument.presentationml.tags+xml"/>
  <Override PartName="/ppt/tags/tag1061.xml" ContentType="application/vnd.openxmlformats-officedocument.presentationml.tags+xml"/>
  <Override PartName="/ppt/tags/tag1062.xml" ContentType="application/vnd.openxmlformats-officedocument.presentationml.tags+xml"/>
  <Override PartName="/ppt/tags/tag1063.xml" ContentType="application/vnd.openxmlformats-officedocument.presentationml.tags+xml"/>
  <Override PartName="/ppt/tags/tag1064.xml" ContentType="application/vnd.openxmlformats-officedocument.presentationml.tags+xml"/>
  <Override PartName="/ppt/tags/tag1065.xml" ContentType="application/vnd.openxmlformats-officedocument.presentationml.tags+xml"/>
  <Override PartName="/ppt/tags/tag1066.xml" ContentType="application/vnd.openxmlformats-officedocument.presentationml.tags+xml"/>
  <Override PartName="/ppt/tags/tag1067.xml" ContentType="application/vnd.openxmlformats-officedocument.presentationml.tags+xml"/>
  <Override PartName="/ppt/tags/tag1068.xml" ContentType="application/vnd.openxmlformats-officedocument.presentationml.tags+xml"/>
  <Override PartName="/ppt/tags/tag1069.xml" ContentType="application/vnd.openxmlformats-officedocument.presentationml.tags+xml"/>
  <Override PartName="/ppt/tags/tag1070.xml" ContentType="application/vnd.openxmlformats-officedocument.presentationml.tags+xml"/>
  <Override PartName="/ppt/tags/tag1071.xml" ContentType="application/vnd.openxmlformats-officedocument.presentationml.tags+xml"/>
  <Override PartName="/ppt/tags/tag1072.xml" ContentType="application/vnd.openxmlformats-officedocument.presentationml.tags+xml"/>
  <Override PartName="/ppt/tags/tag1073.xml" ContentType="application/vnd.openxmlformats-officedocument.presentationml.tags+xml"/>
  <Override PartName="/ppt/tags/tag1074.xml" ContentType="application/vnd.openxmlformats-officedocument.presentationml.tags+xml"/>
  <Override PartName="/ppt/tags/tag1075.xml" ContentType="application/vnd.openxmlformats-officedocument.presentationml.tags+xml"/>
  <Override PartName="/ppt/tags/tag1076.xml" ContentType="application/vnd.openxmlformats-officedocument.presentationml.tags+xml"/>
  <Override PartName="/ppt/tags/tag1077.xml" ContentType="application/vnd.openxmlformats-officedocument.presentationml.tags+xml"/>
  <Override PartName="/ppt/tags/tag1078.xml" ContentType="application/vnd.openxmlformats-officedocument.presentationml.tags+xml"/>
  <Override PartName="/ppt/tags/tag1079.xml" ContentType="application/vnd.openxmlformats-officedocument.presentationml.tags+xml"/>
  <Override PartName="/ppt/tags/tag1080.xml" ContentType="application/vnd.openxmlformats-officedocument.presentationml.tags+xml"/>
  <Override PartName="/ppt/tags/tag1081.xml" ContentType="application/vnd.openxmlformats-officedocument.presentationml.tags+xml"/>
  <Override PartName="/ppt/tags/tag1082.xml" ContentType="application/vnd.openxmlformats-officedocument.presentationml.tags+xml"/>
  <Override PartName="/ppt/tags/tag1083.xml" ContentType="application/vnd.openxmlformats-officedocument.presentationml.tags+xml"/>
  <Override PartName="/ppt/tags/tag1084.xml" ContentType="application/vnd.openxmlformats-officedocument.presentationml.tags+xml"/>
  <Override PartName="/ppt/tags/tag1085.xml" ContentType="application/vnd.openxmlformats-officedocument.presentationml.tags+xml"/>
  <Override PartName="/ppt/tags/tag1086.xml" ContentType="application/vnd.openxmlformats-officedocument.presentationml.tags+xml"/>
  <Override PartName="/ppt/tags/tag1087.xml" ContentType="application/vnd.openxmlformats-officedocument.presentationml.tags+xml"/>
  <Override PartName="/ppt/tags/tag1088.xml" ContentType="application/vnd.openxmlformats-officedocument.presentationml.tags+xml"/>
  <Override PartName="/ppt/tags/tag1089.xml" ContentType="application/vnd.openxmlformats-officedocument.presentationml.tags+xml"/>
  <Override PartName="/ppt/tags/tag1090.xml" ContentType="application/vnd.openxmlformats-officedocument.presentationml.tags+xml"/>
  <Override PartName="/ppt/tags/tag1091.xml" ContentType="application/vnd.openxmlformats-officedocument.presentationml.tags+xml"/>
  <Override PartName="/ppt/tags/tag1092.xml" ContentType="application/vnd.openxmlformats-officedocument.presentationml.tags+xml"/>
  <Override PartName="/ppt/tags/tag1093.xml" ContentType="application/vnd.openxmlformats-officedocument.presentationml.tags+xml"/>
  <Override PartName="/ppt/tags/tag1094.xml" ContentType="application/vnd.openxmlformats-officedocument.presentationml.tags+xml"/>
  <Override PartName="/ppt/tags/tag1095.xml" ContentType="application/vnd.openxmlformats-officedocument.presentationml.tags+xml"/>
  <Override PartName="/ppt/tags/tag1096.xml" ContentType="application/vnd.openxmlformats-officedocument.presentationml.tags+xml"/>
  <Override PartName="/ppt/tags/tag1097.xml" ContentType="application/vnd.openxmlformats-officedocument.presentationml.tags+xml"/>
  <Override PartName="/ppt/tags/tag1098.xml" ContentType="application/vnd.openxmlformats-officedocument.presentationml.tags+xml"/>
  <Override PartName="/ppt/tags/tag1099.xml" ContentType="application/vnd.openxmlformats-officedocument.presentationml.tags+xml"/>
  <Override PartName="/ppt/tags/tag1100.xml" ContentType="application/vnd.openxmlformats-officedocument.presentationml.tags+xml"/>
  <Override PartName="/ppt/tags/tag1101.xml" ContentType="application/vnd.openxmlformats-officedocument.presentationml.tags+xml"/>
  <Override PartName="/ppt/tags/tag1102.xml" ContentType="application/vnd.openxmlformats-officedocument.presentationml.tags+xml"/>
  <Override PartName="/ppt/tags/tag1103.xml" ContentType="application/vnd.openxmlformats-officedocument.presentationml.tags+xml"/>
  <Override PartName="/ppt/tags/tag1104.xml" ContentType="application/vnd.openxmlformats-officedocument.presentationml.tags+xml"/>
  <Override PartName="/ppt/tags/tag1105.xml" ContentType="application/vnd.openxmlformats-officedocument.presentationml.tags+xml"/>
  <Override PartName="/ppt/tags/tag1106.xml" ContentType="application/vnd.openxmlformats-officedocument.presentationml.tags+xml"/>
  <Override PartName="/ppt/tags/tag1107.xml" ContentType="application/vnd.openxmlformats-officedocument.presentationml.tags+xml"/>
  <Override PartName="/ppt/tags/tag1108.xml" ContentType="application/vnd.openxmlformats-officedocument.presentationml.tags+xml"/>
  <Override PartName="/ppt/tags/tag1109.xml" ContentType="application/vnd.openxmlformats-officedocument.presentationml.tags+xml"/>
  <Override PartName="/ppt/tags/tag1110.xml" ContentType="application/vnd.openxmlformats-officedocument.presentationml.tags+xml"/>
  <Override PartName="/ppt/tags/tag1111.xml" ContentType="application/vnd.openxmlformats-officedocument.presentationml.tags+xml"/>
  <Override PartName="/ppt/tags/tag1112.xml" ContentType="application/vnd.openxmlformats-officedocument.presentationml.tags+xml"/>
  <Override PartName="/ppt/tags/tag1113.xml" ContentType="application/vnd.openxmlformats-officedocument.presentationml.tags+xml"/>
  <Override PartName="/ppt/tags/tag1114.xml" ContentType="application/vnd.openxmlformats-officedocument.presentationml.tags+xml"/>
  <Override PartName="/ppt/tags/tag1115.xml" ContentType="application/vnd.openxmlformats-officedocument.presentationml.tags+xml"/>
  <Override PartName="/ppt/tags/tag1116.xml" ContentType="application/vnd.openxmlformats-officedocument.presentationml.tags+xml"/>
  <Override PartName="/ppt/tags/tag1117.xml" ContentType="application/vnd.openxmlformats-officedocument.presentationml.tags+xml"/>
  <Override PartName="/ppt/tags/tag1118.xml" ContentType="application/vnd.openxmlformats-officedocument.presentationml.tags+xml"/>
  <Override PartName="/ppt/tags/tag1119.xml" ContentType="application/vnd.openxmlformats-officedocument.presentationml.tags+xml"/>
  <Override PartName="/ppt/tags/tag1120.xml" ContentType="application/vnd.openxmlformats-officedocument.presentationml.tags+xml"/>
  <Override PartName="/ppt/tags/tag1121.xml" ContentType="application/vnd.openxmlformats-officedocument.presentationml.tags+xml"/>
  <Override PartName="/ppt/tags/tag1122.xml" ContentType="application/vnd.openxmlformats-officedocument.presentationml.tags+xml"/>
  <Override PartName="/ppt/tags/tag1123.xml" ContentType="application/vnd.openxmlformats-officedocument.presentationml.tags+xml"/>
  <Override PartName="/ppt/tags/tag1124.xml" ContentType="application/vnd.openxmlformats-officedocument.presentationml.tags+xml"/>
  <Override PartName="/ppt/tags/tag1125.xml" ContentType="application/vnd.openxmlformats-officedocument.presentationml.tags+xml"/>
  <Override PartName="/ppt/tags/tag1126.xml" ContentType="application/vnd.openxmlformats-officedocument.presentationml.tags+xml"/>
  <Override PartName="/ppt/tags/tag1127.xml" ContentType="application/vnd.openxmlformats-officedocument.presentationml.tags+xml"/>
  <Override PartName="/ppt/tags/tag1128.xml" ContentType="application/vnd.openxmlformats-officedocument.presentationml.tags+xml"/>
  <Override PartName="/ppt/tags/tag1129.xml" ContentType="application/vnd.openxmlformats-officedocument.presentationml.tags+xml"/>
  <Override PartName="/ppt/tags/tag1130.xml" ContentType="application/vnd.openxmlformats-officedocument.presentationml.tags+xml"/>
  <Override PartName="/ppt/tags/tag1131.xml" ContentType="application/vnd.openxmlformats-officedocument.presentationml.tags+xml"/>
  <Override PartName="/ppt/tags/tag1132.xml" ContentType="application/vnd.openxmlformats-officedocument.presentationml.tags+xml"/>
  <Override PartName="/ppt/tags/tag1133.xml" ContentType="application/vnd.openxmlformats-officedocument.presentationml.tags+xml"/>
  <Override PartName="/ppt/tags/tag1134.xml" ContentType="application/vnd.openxmlformats-officedocument.presentationml.tags+xml"/>
  <Override PartName="/ppt/tags/tag1135.xml" ContentType="application/vnd.openxmlformats-officedocument.presentationml.tags+xml"/>
  <Override PartName="/ppt/tags/tag1136.xml" ContentType="application/vnd.openxmlformats-officedocument.presentationml.tags+xml"/>
  <Override PartName="/ppt/tags/tag1137.xml" ContentType="application/vnd.openxmlformats-officedocument.presentationml.tags+xml"/>
  <Override PartName="/ppt/tags/tag1138.xml" ContentType="application/vnd.openxmlformats-officedocument.presentationml.tags+xml"/>
  <Override PartName="/ppt/tags/tag1139.xml" ContentType="application/vnd.openxmlformats-officedocument.presentationml.tags+xml"/>
  <Override PartName="/ppt/tags/tag1140.xml" ContentType="application/vnd.openxmlformats-officedocument.presentationml.tags+xml"/>
  <Override PartName="/ppt/tags/tag1141.xml" ContentType="application/vnd.openxmlformats-officedocument.presentationml.tags+xml"/>
  <Override PartName="/ppt/tags/tag1142.xml" ContentType="application/vnd.openxmlformats-officedocument.presentationml.tags+xml"/>
  <Override PartName="/ppt/tags/tag1143.xml" ContentType="application/vnd.openxmlformats-officedocument.presentationml.tags+xml"/>
  <Override PartName="/ppt/tags/tag1144.xml" ContentType="application/vnd.openxmlformats-officedocument.presentationml.tags+xml"/>
  <Override PartName="/ppt/tags/tag1145.xml" ContentType="application/vnd.openxmlformats-officedocument.presentationml.tags+xml"/>
  <Override PartName="/ppt/tags/tag1146.xml" ContentType="application/vnd.openxmlformats-officedocument.presentationml.tags+xml"/>
  <Override PartName="/ppt/tags/tag1147.xml" ContentType="application/vnd.openxmlformats-officedocument.presentationml.tags+xml"/>
  <Override PartName="/ppt/tags/tag1148.xml" ContentType="application/vnd.openxmlformats-officedocument.presentationml.tags+xml"/>
  <Override PartName="/ppt/tags/tag1149.xml" ContentType="application/vnd.openxmlformats-officedocument.presentationml.tags+xml"/>
  <Override PartName="/ppt/notesSlides/notesSlide16.xml" ContentType="application/vnd.openxmlformats-officedocument.presentationml.notesSlide+xml"/>
  <Override PartName="/ppt/charts/chart16.xml" ContentType="application/vnd.openxmlformats-officedocument.drawingml.chart+xml"/>
  <Override PartName="/ppt/tags/tag1150.xml" ContentType="application/vnd.openxmlformats-officedocument.presentationml.tags+xml"/>
  <Override PartName="/ppt/tags/tag1151.xml" ContentType="application/vnd.openxmlformats-officedocument.presentationml.tags+xml"/>
  <Override PartName="/ppt/tags/tag1152.xml" ContentType="application/vnd.openxmlformats-officedocument.presentationml.tags+xml"/>
  <Override PartName="/ppt/tags/tag1153.xml" ContentType="application/vnd.openxmlformats-officedocument.presentationml.tags+xml"/>
  <Override PartName="/ppt/tags/tag1154.xml" ContentType="application/vnd.openxmlformats-officedocument.presentationml.tags+xml"/>
  <Override PartName="/ppt/tags/tag1155.xml" ContentType="application/vnd.openxmlformats-officedocument.presentationml.tags+xml"/>
  <Override PartName="/ppt/tags/tag1156.xml" ContentType="application/vnd.openxmlformats-officedocument.presentationml.tags+xml"/>
  <Override PartName="/ppt/tags/tag1157.xml" ContentType="application/vnd.openxmlformats-officedocument.presentationml.tags+xml"/>
  <Override PartName="/ppt/tags/tag1158.xml" ContentType="application/vnd.openxmlformats-officedocument.presentationml.tags+xml"/>
  <Override PartName="/ppt/tags/tag1159.xml" ContentType="application/vnd.openxmlformats-officedocument.presentationml.tags+xml"/>
  <Override PartName="/ppt/tags/tag1160.xml" ContentType="application/vnd.openxmlformats-officedocument.presentationml.tags+xml"/>
  <Override PartName="/ppt/tags/tag1161.xml" ContentType="application/vnd.openxmlformats-officedocument.presentationml.tags+xml"/>
  <Override PartName="/ppt/tags/tag1162.xml" ContentType="application/vnd.openxmlformats-officedocument.presentationml.tags+xml"/>
  <Override PartName="/ppt/tags/tag1163.xml" ContentType="application/vnd.openxmlformats-officedocument.presentationml.tags+xml"/>
  <Override PartName="/ppt/tags/tag1164.xml" ContentType="application/vnd.openxmlformats-officedocument.presentationml.tags+xml"/>
  <Override PartName="/ppt/tags/tag1165.xml" ContentType="application/vnd.openxmlformats-officedocument.presentationml.tags+xml"/>
  <Override PartName="/ppt/tags/tag1166.xml" ContentType="application/vnd.openxmlformats-officedocument.presentationml.tags+xml"/>
  <Override PartName="/ppt/tags/tag1167.xml" ContentType="application/vnd.openxmlformats-officedocument.presentationml.tags+xml"/>
  <Override PartName="/ppt/tags/tag1168.xml" ContentType="application/vnd.openxmlformats-officedocument.presentationml.tags+xml"/>
  <Override PartName="/ppt/tags/tag1169.xml" ContentType="application/vnd.openxmlformats-officedocument.presentationml.tags+xml"/>
  <Override PartName="/ppt/tags/tag1170.xml" ContentType="application/vnd.openxmlformats-officedocument.presentationml.tags+xml"/>
  <Override PartName="/ppt/tags/tag1171.xml" ContentType="application/vnd.openxmlformats-officedocument.presentationml.tags+xml"/>
  <Override PartName="/ppt/tags/tag1172.xml" ContentType="application/vnd.openxmlformats-officedocument.presentationml.tags+xml"/>
  <Override PartName="/ppt/tags/tag1173.xml" ContentType="application/vnd.openxmlformats-officedocument.presentationml.tags+xml"/>
  <Override PartName="/ppt/tags/tag1174.xml" ContentType="application/vnd.openxmlformats-officedocument.presentationml.tags+xml"/>
  <Override PartName="/ppt/tags/tag1175.xml" ContentType="application/vnd.openxmlformats-officedocument.presentationml.tags+xml"/>
  <Override PartName="/ppt/tags/tag1176.xml" ContentType="application/vnd.openxmlformats-officedocument.presentationml.tags+xml"/>
  <Override PartName="/ppt/tags/tag1177.xml" ContentType="application/vnd.openxmlformats-officedocument.presentationml.tags+xml"/>
  <Override PartName="/ppt/tags/tag1178.xml" ContentType="application/vnd.openxmlformats-officedocument.presentationml.tags+xml"/>
  <Override PartName="/ppt/tags/tag1179.xml" ContentType="application/vnd.openxmlformats-officedocument.presentationml.tags+xml"/>
  <Override PartName="/ppt/tags/tag1180.xml" ContentType="application/vnd.openxmlformats-officedocument.presentationml.tags+xml"/>
  <Override PartName="/ppt/tags/tag1181.xml" ContentType="application/vnd.openxmlformats-officedocument.presentationml.tags+xml"/>
  <Override PartName="/ppt/tags/tag1182.xml" ContentType="application/vnd.openxmlformats-officedocument.presentationml.tags+xml"/>
  <Override PartName="/ppt/tags/tag1183.xml" ContentType="application/vnd.openxmlformats-officedocument.presentationml.tags+xml"/>
  <Override PartName="/ppt/tags/tag1184.xml" ContentType="application/vnd.openxmlformats-officedocument.presentationml.tags+xml"/>
  <Override PartName="/ppt/tags/tag1185.xml" ContentType="application/vnd.openxmlformats-officedocument.presentationml.tags+xml"/>
  <Override PartName="/ppt/tags/tag1186.xml" ContentType="application/vnd.openxmlformats-officedocument.presentationml.tags+xml"/>
  <Override PartName="/ppt/tags/tag1187.xml" ContentType="application/vnd.openxmlformats-officedocument.presentationml.tags+xml"/>
  <Override PartName="/ppt/tags/tag1188.xml" ContentType="application/vnd.openxmlformats-officedocument.presentationml.tags+xml"/>
  <Override PartName="/ppt/tags/tag1189.xml" ContentType="application/vnd.openxmlformats-officedocument.presentationml.tags+xml"/>
  <Override PartName="/ppt/tags/tag1190.xml" ContentType="application/vnd.openxmlformats-officedocument.presentationml.tags+xml"/>
  <Override PartName="/ppt/tags/tag1191.xml" ContentType="application/vnd.openxmlformats-officedocument.presentationml.tags+xml"/>
  <Override PartName="/ppt/tags/tag1192.xml" ContentType="application/vnd.openxmlformats-officedocument.presentationml.tags+xml"/>
  <Override PartName="/ppt/tags/tag1193.xml" ContentType="application/vnd.openxmlformats-officedocument.presentationml.tags+xml"/>
  <Override PartName="/ppt/tags/tag1194.xml" ContentType="application/vnd.openxmlformats-officedocument.presentationml.tags+xml"/>
  <Override PartName="/ppt/tags/tag1195.xml" ContentType="application/vnd.openxmlformats-officedocument.presentationml.tags+xml"/>
  <Override PartName="/ppt/tags/tag1196.xml" ContentType="application/vnd.openxmlformats-officedocument.presentationml.tags+xml"/>
  <Override PartName="/ppt/tags/tag1197.xml" ContentType="application/vnd.openxmlformats-officedocument.presentationml.tags+xml"/>
  <Override PartName="/ppt/tags/tag1198.xml" ContentType="application/vnd.openxmlformats-officedocument.presentationml.tags+xml"/>
  <Override PartName="/ppt/tags/tag1199.xml" ContentType="application/vnd.openxmlformats-officedocument.presentationml.tags+xml"/>
  <Override PartName="/ppt/tags/tag1200.xml" ContentType="application/vnd.openxmlformats-officedocument.presentationml.tags+xml"/>
  <Override PartName="/ppt/tags/tag1201.xml" ContentType="application/vnd.openxmlformats-officedocument.presentationml.tags+xml"/>
  <Override PartName="/ppt/tags/tag1202.xml" ContentType="application/vnd.openxmlformats-officedocument.presentationml.tags+xml"/>
  <Override PartName="/ppt/tags/tag1203.xml" ContentType="application/vnd.openxmlformats-officedocument.presentationml.tags+xml"/>
  <Override PartName="/ppt/tags/tag1204.xml" ContentType="application/vnd.openxmlformats-officedocument.presentationml.tags+xml"/>
  <Override PartName="/ppt/tags/tag1205.xml" ContentType="application/vnd.openxmlformats-officedocument.presentationml.tags+xml"/>
  <Override PartName="/ppt/tags/tag1206.xml" ContentType="application/vnd.openxmlformats-officedocument.presentationml.tags+xml"/>
  <Override PartName="/ppt/notesSlides/notesSlide17.xml" ContentType="application/vnd.openxmlformats-officedocument.presentationml.notesSlide+xml"/>
  <Override PartName="/ppt/charts/chart17.xml" ContentType="application/vnd.openxmlformats-officedocument.drawingml.chart+xml"/>
  <Override PartName="/ppt/tags/tag1207.xml" ContentType="application/vnd.openxmlformats-officedocument.presentationml.tags+xml"/>
  <Override PartName="/ppt/tags/tag1208.xml" ContentType="application/vnd.openxmlformats-officedocument.presentationml.tags+xml"/>
  <Override PartName="/ppt/tags/tag1209.xml" ContentType="application/vnd.openxmlformats-officedocument.presentationml.tags+xml"/>
  <Override PartName="/ppt/tags/tag1210.xml" ContentType="application/vnd.openxmlformats-officedocument.presentationml.tags+xml"/>
  <Override PartName="/ppt/tags/tag1211.xml" ContentType="application/vnd.openxmlformats-officedocument.presentationml.tags+xml"/>
  <Override PartName="/ppt/tags/tag1212.xml" ContentType="application/vnd.openxmlformats-officedocument.presentationml.tags+xml"/>
  <Override PartName="/ppt/tags/tag1213.xml" ContentType="application/vnd.openxmlformats-officedocument.presentationml.tags+xml"/>
  <Override PartName="/ppt/tags/tag1214.xml" ContentType="application/vnd.openxmlformats-officedocument.presentationml.tags+xml"/>
  <Override PartName="/ppt/tags/tag1215.xml" ContentType="application/vnd.openxmlformats-officedocument.presentationml.tags+xml"/>
  <Override PartName="/ppt/tags/tag1216.xml" ContentType="application/vnd.openxmlformats-officedocument.presentationml.tags+xml"/>
  <Override PartName="/ppt/tags/tag1217.xml" ContentType="application/vnd.openxmlformats-officedocument.presentationml.tags+xml"/>
  <Override PartName="/ppt/tags/tag1218.xml" ContentType="application/vnd.openxmlformats-officedocument.presentationml.tags+xml"/>
  <Override PartName="/ppt/tags/tag1219.xml" ContentType="application/vnd.openxmlformats-officedocument.presentationml.tags+xml"/>
  <Override PartName="/ppt/tags/tag1220.xml" ContentType="application/vnd.openxmlformats-officedocument.presentationml.tags+xml"/>
  <Override PartName="/ppt/tags/tag1221.xml" ContentType="application/vnd.openxmlformats-officedocument.presentationml.tags+xml"/>
  <Override PartName="/ppt/tags/tag1222.xml" ContentType="application/vnd.openxmlformats-officedocument.presentationml.tags+xml"/>
  <Override PartName="/ppt/tags/tag1223.xml" ContentType="application/vnd.openxmlformats-officedocument.presentationml.tags+xml"/>
  <Override PartName="/ppt/tags/tag1224.xml" ContentType="application/vnd.openxmlformats-officedocument.presentationml.tags+xml"/>
  <Override PartName="/ppt/tags/tag1225.xml" ContentType="application/vnd.openxmlformats-officedocument.presentationml.tags+xml"/>
  <Override PartName="/ppt/tags/tag1226.xml" ContentType="application/vnd.openxmlformats-officedocument.presentationml.tags+xml"/>
  <Override PartName="/ppt/tags/tag1227.xml" ContentType="application/vnd.openxmlformats-officedocument.presentationml.tags+xml"/>
  <Override PartName="/ppt/tags/tag1228.xml" ContentType="application/vnd.openxmlformats-officedocument.presentationml.tags+xml"/>
  <Override PartName="/ppt/tags/tag1229.xml" ContentType="application/vnd.openxmlformats-officedocument.presentationml.tags+xml"/>
  <Override PartName="/ppt/tags/tag1230.xml" ContentType="application/vnd.openxmlformats-officedocument.presentationml.tags+xml"/>
  <Override PartName="/ppt/tags/tag1231.xml" ContentType="application/vnd.openxmlformats-officedocument.presentationml.tags+xml"/>
  <Override PartName="/ppt/tags/tag1232.xml" ContentType="application/vnd.openxmlformats-officedocument.presentationml.tags+xml"/>
  <Override PartName="/ppt/tags/tag1233.xml" ContentType="application/vnd.openxmlformats-officedocument.presentationml.tags+xml"/>
  <Override PartName="/ppt/tags/tag1234.xml" ContentType="application/vnd.openxmlformats-officedocument.presentationml.tags+xml"/>
  <Override PartName="/ppt/tags/tag1235.xml" ContentType="application/vnd.openxmlformats-officedocument.presentationml.tags+xml"/>
  <Override PartName="/ppt/tags/tag1236.xml" ContentType="application/vnd.openxmlformats-officedocument.presentationml.tags+xml"/>
  <Override PartName="/ppt/tags/tag1237.xml" ContentType="application/vnd.openxmlformats-officedocument.presentationml.tags+xml"/>
  <Override PartName="/ppt/tags/tag1238.xml" ContentType="application/vnd.openxmlformats-officedocument.presentationml.tags+xml"/>
  <Override PartName="/ppt/tags/tag1239.xml" ContentType="application/vnd.openxmlformats-officedocument.presentationml.tags+xml"/>
  <Override PartName="/ppt/tags/tag1240.xml" ContentType="application/vnd.openxmlformats-officedocument.presentationml.tags+xml"/>
  <Override PartName="/ppt/tags/tag1241.xml" ContentType="application/vnd.openxmlformats-officedocument.presentationml.tags+xml"/>
  <Override PartName="/ppt/tags/tag1242.xml" ContentType="application/vnd.openxmlformats-officedocument.presentationml.tags+xml"/>
  <Override PartName="/ppt/tags/tag1243.xml" ContentType="application/vnd.openxmlformats-officedocument.presentationml.tags+xml"/>
  <Override PartName="/ppt/tags/tag1244.xml" ContentType="application/vnd.openxmlformats-officedocument.presentationml.tags+xml"/>
  <Override PartName="/ppt/tags/tag1245.xml" ContentType="application/vnd.openxmlformats-officedocument.presentationml.tags+xml"/>
  <Override PartName="/ppt/tags/tag1246.xml" ContentType="application/vnd.openxmlformats-officedocument.presentationml.tags+xml"/>
  <Override PartName="/ppt/tags/tag1247.xml" ContentType="application/vnd.openxmlformats-officedocument.presentationml.tags+xml"/>
  <Override PartName="/ppt/tags/tag1248.xml" ContentType="application/vnd.openxmlformats-officedocument.presentationml.tags+xml"/>
  <Override PartName="/ppt/tags/tag1249.xml" ContentType="application/vnd.openxmlformats-officedocument.presentationml.tags+xml"/>
  <Override PartName="/ppt/tags/tag1250.xml" ContentType="application/vnd.openxmlformats-officedocument.presentationml.tags+xml"/>
  <Override PartName="/ppt/tags/tag1251.xml" ContentType="application/vnd.openxmlformats-officedocument.presentationml.tags+xml"/>
  <Override PartName="/ppt/tags/tag1252.xml" ContentType="application/vnd.openxmlformats-officedocument.presentationml.tags+xml"/>
  <Override PartName="/ppt/tags/tag1253.xml" ContentType="application/vnd.openxmlformats-officedocument.presentationml.tags+xml"/>
  <Override PartName="/ppt/tags/tag1254.xml" ContentType="application/vnd.openxmlformats-officedocument.presentationml.tags+xml"/>
  <Override PartName="/ppt/tags/tag1255.xml" ContentType="application/vnd.openxmlformats-officedocument.presentationml.tags+xml"/>
  <Override PartName="/ppt/tags/tag1256.xml" ContentType="application/vnd.openxmlformats-officedocument.presentationml.tags+xml"/>
  <Override PartName="/ppt/tags/tag1257.xml" ContentType="application/vnd.openxmlformats-officedocument.presentationml.tags+xml"/>
  <Override PartName="/ppt/tags/tag1258.xml" ContentType="application/vnd.openxmlformats-officedocument.presentationml.tags+xml"/>
  <Override PartName="/ppt/tags/tag1259.xml" ContentType="application/vnd.openxmlformats-officedocument.presentationml.tags+xml"/>
  <Override PartName="/ppt/tags/tag1260.xml" ContentType="application/vnd.openxmlformats-officedocument.presentationml.tags+xml"/>
  <Override PartName="/ppt/tags/tag1261.xml" ContentType="application/vnd.openxmlformats-officedocument.presentationml.tags+xml"/>
  <Override PartName="/ppt/tags/tag1262.xml" ContentType="application/vnd.openxmlformats-officedocument.presentationml.tags+xml"/>
  <Override PartName="/ppt/tags/tag1263.xml" ContentType="application/vnd.openxmlformats-officedocument.presentationml.tags+xml"/>
  <Override PartName="/ppt/tags/tag1264.xml" ContentType="application/vnd.openxmlformats-officedocument.presentationml.tags+xml"/>
  <Override PartName="/ppt/tags/tag1265.xml" ContentType="application/vnd.openxmlformats-officedocument.presentationml.tags+xml"/>
  <Override PartName="/ppt/tags/tag1266.xml" ContentType="application/vnd.openxmlformats-officedocument.presentationml.tags+xml"/>
  <Override PartName="/ppt/tags/tag1267.xml" ContentType="application/vnd.openxmlformats-officedocument.presentationml.tags+xml"/>
  <Override PartName="/ppt/tags/tag1268.xml" ContentType="application/vnd.openxmlformats-officedocument.presentationml.tags+xml"/>
  <Override PartName="/ppt/tags/tag1269.xml" ContentType="application/vnd.openxmlformats-officedocument.presentationml.tags+xml"/>
  <Override PartName="/ppt/tags/tag1270.xml" ContentType="application/vnd.openxmlformats-officedocument.presentationml.tags+xml"/>
  <Override PartName="/ppt/tags/tag1271.xml" ContentType="application/vnd.openxmlformats-officedocument.presentationml.tags+xml"/>
  <Override PartName="/ppt/tags/tag1272.xml" ContentType="application/vnd.openxmlformats-officedocument.presentationml.tags+xml"/>
  <Override PartName="/ppt/tags/tag1273.xml" ContentType="application/vnd.openxmlformats-officedocument.presentationml.tags+xml"/>
  <Override PartName="/ppt/tags/tag1274.xml" ContentType="application/vnd.openxmlformats-officedocument.presentationml.tags+xml"/>
  <Override PartName="/ppt/tags/tag1275.xml" ContentType="application/vnd.openxmlformats-officedocument.presentationml.tags+xml"/>
  <Override PartName="/ppt/tags/tag1276.xml" ContentType="application/vnd.openxmlformats-officedocument.presentationml.tags+xml"/>
  <Override PartName="/ppt/tags/tag1277.xml" ContentType="application/vnd.openxmlformats-officedocument.presentationml.tags+xml"/>
  <Override PartName="/ppt/tags/tag1278.xml" ContentType="application/vnd.openxmlformats-officedocument.presentationml.tags+xml"/>
  <Override PartName="/ppt/tags/tag1279.xml" ContentType="application/vnd.openxmlformats-officedocument.presentationml.tags+xml"/>
  <Override PartName="/ppt/tags/tag1280.xml" ContentType="application/vnd.openxmlformats-officedocument.presentationml.tags+xml"/>
  <Override PartName="/ppt/tags/tag1281.xml" ContentType="application/vnd.openxmlformats-officedocument.presentationml.tags+xml"/>
  <Override PartName="/ppt/tags/tag1282.xml" ContentType="application/vnd.openxmlformats-officedocument.presentationml.tags+xml"/>
  <Override PartName="/ppt/tags/tag1283.xml" ContentType="application/vnd.openxmlformats-officedocument.presentationml.tags+xml"/>
  <Override PartName="/ppt/tags/tag1284.xml" ContentType="application/vnd.openxmlformats-officedocument.presentationml.tags+xml"/>
  <Override PartName="/ppt/tags/tag1285.xml" ContentType="application/vnd.openxmlformats-officedocument.presentationml.tags+xml"/>
  <Override PartName="/ppt/tags/tag1286.xml" ContentType="application/vnd.openxmlformats-officedocument.presentationml.tags+xml"/>
  <Override PartName="/ppt/tags/tag1287.xml" ContentType="application/vnd.openxmlformats-officedocument.presentationml.tags+xml"/>
  <Override PartName="/ppt/tags/tag1288.xml" ContentType="application/vnd.openxmlformats-officedocument.presentationml.tags+xml"/>
  <Override PartName="/ppt/tags/tag1289.xml" ContentType="application/vnd.openxmlformats-officedocument.presentationml.tags+xml"/>
  <Override PartName="/ppt/tags/tag1290.xml" ContentType="application/vnd.openxmlformats-officedocument.presentationml.tags+xml"/>
  <Override PartName="/ppt/tags/tag1291.xml" ContentType="application/vnd.openxmlformats-officedocument.presentationml.tags+xml"/>
  <Override PartName="/ppt/notesSlides/notesSlide18.xml" ContentType="application/vnd.openxmlformats-officedocument.presentationml.notesSlide+xml"/>
  <Override PartName="/ppt/charts/chart18.xml" ContentType="application/vnd.openxmlformats-officedocument.drawingml.chart+xml"/>
  <Override PartName="/ppt/tags/tag1292.xml" ContentType="application/vnd.openxmlformats-officedocument.presentationml.tags+xml"/>
  <Override PartName="/ppt/tags/tag1293.xml" ContentType="application/vnd.openxmlformats-officedocument.presentationml.tags+xml"/>
  <Override PartName="/ppt/tags/tag1294.xml" ContentType="application/vnd.openxmlformats-officedocument.presentationml.tags+xml"/>
  <Override PartName="/ppt/tags/tag1295.xml" ContentType="application/vnd.openxmlformats-officedocument.presentationml.tags+xml"/>
  <Override PartName="/ppt/tags/tag1296.xml" ContentType="application/vnd.openxmlformats-officedocument.presentationml.tags+xml"/>
  <Override PartName="/ppt/tags/tag1297.xml" ContentType="application/vnd.openxmlformats-officedocument.presentationml.tags+xml"/>
  <Override PartName="/ppt/tags/tag1298.xml" ContentType="application/vnd.openxmlformats-officedocument.presentationml.tags+xml"/>
  <Override PartName="/ppt/tags/tag1299.xml" ContentType="application/vnd.openxmlformats-officedocument.presentationml.tags+xml"/>
  <Override PartName="/ppt/tags/tag1300.xml" ContentType="application/vnd.openxmlformats-officedocument.presentationml.tags+xml"/>
  <Override PartName="/ppt/tags/tag1301.xml" ContentType="application/vnd.openxmlformats-officedocument.presentationml.tags+xml"/>
  <Override PartName="/ppt/tags/tag1302.xml" ContentType="application/vnd.openxmlformats-officedocument.presentationml.tags+xml"/>
  <Override PartName="/ppt/tags/tag1303.xml" ContentType="application/vnd.openxmlformats-officedocument.presentationml.tags+xml"/>
  <Override PartName="/ppt/tags/tag1304.xml" ContentType="application/vnd.openxmlformats-officedocument.presentationml.tags+xml"/>
  <Override PartName="/ppt/tags/tag1305.xml" ContentType="application/vnd.openxmlformats-officedocument.presentationml.tags+xml"/>
  <Override PartName="/ppt/tags/tag1306.xml" ContentType="application/vnd.openxmlformats-officedocument.presentationml.tags+xml"/>
  <Override PartName="/ppt/tags/tag1307.xml" ContentType="application/vnd.openxmlformats-officedocument.presentationml.tags+xml"/>
  <Override PartName="/ppt/tags/tag1308.xml" ContentType="application/vnd.openxmlformats-officedocument.presentationml.tags+xml"/>
  <Override PartName="/ppt/tags/tag1309.xml" ContentType="application/vnd.openxmlformats-officedocument.presentationml.tags+xml"/>
  <Override PartName="/ppt/tags/tag1310.xml" ContentType="application/vnd.openxmlformats-officedocument.presentationml.tags+xml"/>
  <Override PartName="/ppt/tags/tag1311.xml" ContentType="application/vnd.openxmlformats-officedocument.presentationml.tags+xml"/>
  <Override PartName="/ppt/tags/tag1312.xml" ContentType="application/vnd.openxmlformats-officedocument.presentationml.tags+xml"/>
  <Override PartName="/ppt/tags/tag1313.xml" ContentType="application/vnd.openxmlformats-officedocument.presentationml.tags+xml"/>
  <Override PartName="/ppt/tags/tag1314.xml" ContentType="application/vnd.openxmlformats-officedocument.presentationml.tags+xml"/>
  <Override PartName="/ppt/tags/tag1315.xml" ContentType="application/vnd.openxmlformats-officedocument.presentationml.tags+xml"/>
  <Override PartName="/ppt/tags/tag1316.xml" ContentType="application/vnd.openxmlformats-officedocument.presentationml.tags+xml"/>
  <Override PartName="/ppt/tags/tag1317.xml" ContentType="application/vnd.openxmlformats-officedocument.presentationml.tags+xml"/>
  <Override PartName="/ppt/tags/tag1318.xml" ContentType="application/vnd.openxmlformats-officedocument.presentationml.tags+xml"/>
  <Override PartName="/ppt/tags/tag1319.xml" ContentType="application/vnd.openxmlformats-officedocument.presentationml.tags+xml"/>
  <Override PartName="/ppt/tags/tag1320.xml" ContentType="application/vnd.openxmlformats-officedocument.presentationml.tags+xml"/>
  <Override PartName="/ppt/tags/tag1321.xml" ContentType="application/vnd.openxmlformats-officedocument.presentationml.tags+xml"/>
  <Override PartName="/ppt/tags/tag1322.xml" ContentType="application/vnd.openxmlformats-officedocument.presentationml.tags+xml"/>
  <Override PartName="/ppt/tags/tag1323.xml" ContentType="application/vnd.openxmlformats-officedocument.presentationml.tags+xml"/>
  <Override PartName="/ppt/tags/tag1324.xml" ContentType="application/vnd.openxmlformats-officedocument.presentationml.tags+xml"/>
  <Override PartName="/ppt/tags/tag1325.xml" ContentType="application/vnd.openxmlformats-officedocument.presentationml.tags+xml"/>
  <Override PartName="/ppt/tags/tag1326.xml" ContentType="application/vnd.openxmlformats-officedocument.presentationml.tags+xml"/>
  <Override PartName="/ppt/tags/tag1327.xml" ContentType="application/vnd.openxmlformats-officedocument.presentationml.tags+xml"/>
  <Override PartName="/ppt/tags/tag1328.xml" ContentType="application/vnd.openxmlformats-officedocument.presentationml.tags+xml"/>
  <Override PartName="/ppt/tags/tag1329.xml" ContentType="application/vnd.openxmlformats-officedocument.presentationml.tags+xml"/>
  <Override PartName="/ppt/tags/tag1330.xml" ContentType="application/vnd.openxmlformats-officedocument.presentationml.tags+xml"/>
  <Override PartName="/ppt/tags/tag1331.xml" ContentType="application/vnd.openxmlformats-officedocument.presentationml.tags+xml"/>
  <Override PartName="/ppt/tags/tag1332.xml" ContentType="application/vnd.openxmlformats-officedocument.presentationml.tags+xml"/>
  <Override PartName="/ppt/tags/tag1333.xml" ContentType="application/vnd.openxmlformats-officedocument.presentationml.tags+xml"/>
  <Override PartName="/ppt/tags/tag1334.xml" ContentType="application/vnd.openxmlformats-officedocument.presentationml.tags+xml"/>
  <Override PartName="/ppt/tags/tag1335.xml" ContentType="application/vnd.openxmlformats-officedocument.presentationml.tags+xml"/>
  <Override PartName="/ppt/tags/tag1336.xml" ContentType="application/vnd.openxmlformats-officedocument.presentationml.tags+xml"/>
  <Override PartName="/ppt/tags/tag1337.xml" ContentType="application/vnd.openxmlformats-officedocument.presentationml.tags+xml"/>
  <Override PartName="/ppt/tags/tag1338.xml" ContentType="application/vnd.openxmlformats-officedocument.presentationml.tags+xml"/>
  <Override PartName="/ppt/tags/tag1339.xml" ContentType="application/vnd.openxmlformats-officedocument.presentationml.tags+xml"/>
  <Override PartName="/ppt/tags/tag1340.xml" ContentType="application/vnd.openxmlformats-officedocument.presentationml.tags+xml"/>
  <Override PartName="/ppt/tags/tag1341.xml" ContentType="application/vnd.openxmlformats-officedocument.presentationml.tags+xml"/>
  <Override PartName="/ppt/tags/tag1342.xml" ContentType="application/vnd.openxmlformats-officedocument.presentationml.tags+xml"/>
  <Override PartName="/ppt/tags/tag1343.xml" ContentType="application/vnd.openxmlformats-officedocument.presentationml.tags+xml"/>
  <Override PartName="/ppt/tags/tag1344.xml" ContentType="application/vnd.openxmlformats-officedocument.presentationml.tags+xml"/>
  <Override PartName="/ppt/tags/tag1345.xml" ContentType="application/vnd.openxmlformats-officedocument.presentationml.tags+xml"/>
  <Override PartName="/ppt/tags/tag1346.xml" ContentType="application/vnd.openxmlformats-officedocument.presentationml.tags+xml"/>
  <Override PartName="/ppt/tags/tag1347.xml" ContentType="application/vnd.openxmlformats-officedocument.presentationml.tags+xml"/>
  <Override PartName="/ppt/tags/tag1348.xml" ContentType="application/vnd.openxmlformats-officedocument.presentationml.tags+xml"/>
  <Override PartName="/ppt/tags/tag1349.xml" ContentType="application/vnd.openxmlformats-officedocument.presentationml.tags+xml"/>
  <Override PartName="/ppt/tags/tag1350.xml" ContentType="application/vnd.openxmlformats-officedocument.presentationml.tags+xml"/>
  <Override PartName="/ppt/tags/tag1351.xml" ContentType="application/vnd.openxmlformats-officedocument.presentationml.tags+xml"/>
  <Override PartName="/ppt/tags/tag1352.xml" ContentType="application/vnd.openxmlformats-officedocument.presentationml.tags+xml"/>
  <Override PartName="/ppt/notesSlides/notesSlide19.xml" ContentType="application/vnd.openxmlformats-officedocument.presentationml.notesSlide+xml"/>
  <Override PartName="/ppt/charts/chart19.xml" ContentType="application/vnd.openxmlformats-officedocument.drawingml.chart+xml"/>
  <Override PartName="/ppt/tags/tag1353.xml" ContentType="application/vnd.openxmlformats-officedocument.presentationml.tags+xml"/>
  <Override PartName="/ppt/tags/tag1354.xml" ContentType="application/vnd.openxmlformats-officedocument.presentationml.tags+xml"/>
  <Override PartName="/ppt/tags/tag1355.xml" ContentType="application/vnd.openxmlformats-officedocument.presentationml.tags+xml"/>
  <Override PartName="/ppt/tags/tag1356.xml" ContentType="application/vnd.openxmlformats-officedocument.presentationml.tags+xml"/>
  <Override PartName="/ppt/tags/tag1357.xml" ContentType="application/vnd.openxmlformats-officedocument.presentationml.tags+xml"/>
  <Override PartName="/ppt/tags/tag1358.xml" ContentType="application/vnd.openxmlformats-officedocument.presentationml.tags+xml"/>
  <Override PartName="/ppt/tags/tag1359.xml" ContentType="application/vnd.openxmlformats-officedocument.presentationml.tags+xml"/>
  <Override PartName="/ppt/tags/tag1360.xml" ContentType="application/vnd.openxmlformats-officedocument.presentationml.tags+xml"/>
  <Override PartName="/ppt/tags/tag1361.xml" ContentType="application/vnd.openxmlformats-officedocument.presentationml.tags+xml"/>
  <Override PartName="/ppt/tags/tag1362.xml" ContentType="application/vnd.openxmlformats-officedocument.presentationml.tags+xml"/>
  <Override PartName="/ppt/tags/tag1363.xml" ContentType="application/vnd.openxmlformats-officedocument.presentationml.tags+xml"/>
  <Override PartName="/ppt/tags/tag1364.xml" ContentType="application/vnd.openxmlformats-officedocument.presentationml.tags+xml"/>
  <Override PartName="/ppt/tags/tag1365.xml" ContentType="application/vnd.openxmlformats-officedocument.presentationml.tags+xml"/>
  <Override PartName="/ppt/tags/tag1366.xml" ContentType="application/vnd.openxmlformats-officedocument.presentationml.tags+xml"/>
  <Override PartName="/ppt/tags/tag1367.xml" ContentType="application/vnd.openxmlformats-officedocument.presentationml.tags+xml"/>
  <Override PartName="/ppt/tags/tag1368.xml" ContentType="application/vnd.openxmlformats-officedocument.presentationml.tags+xml"/>
  <Override PartName="/ppt/tags/tag1369.xml" ContentType="application/vnd.openxmlformats-officedocument.presentationml.tags+xml"/>
  <Override PartName="/ppt/tags/tag1370.xml" ContentType="application/vnd.openxmlformats-officedocument.presentationml.tags+xml"/>
  <Override PartName="/ppt/tags/tag1371.xml" ContentType="application/vnd.openxmlformats-officedocument.presentationml.tags+xml"/>
  <Override PartName="/ppt/tags/tag1372.xml" ContentType="application/vnd.openxmlformats-officedocument.presentationml.tags+xml"/>
  <Override PartName="/ppt/tags/tag1373.xml" ContentType="application/vnd.openxmlformats-officedocument.presentationml.tags+xml"/>
  <Override PartName="/ppt/tags/tag1374.xml" ContentType="application/vnd.openxmlformats-officedocument.presentationml.tags+xml"/>
  <Override PartName="/ppt/tags/tag1375.xml" ContentType="application/vnd.openxmlformats-officedocument.presentationml.tags+xml"/>
  <Override PartName="/ppt/tags/tag1376.xml" ContentType="application/vnd.openxmlformats-officedocument.presentationml.tags+xml"/>
  <Override PartName="/ppt/tags/tag1377.xml" ContentType="application/vnd.openxmlformats-officedocument.presentationml.tags+xml"/>
  <Override PartName="/ppt/tags/tag1378.xml" ContentType="application/vnd.openxmlformats-officedocument.presentationml.tags+xml"/>
  <Override PartName="/ppt/tags/tag1379.xml" ContentType="application/vnd.openxmlformats-officedocument.presentationml.tags+xml"/>
  <Override PartName="/ppt/tags/tag1380.xml" ContentType="application/vnd.openxmlformats-officedocument.presentationml.tags+xml"/>
  <Override PartName="/ppt/tags/tag1381.xml" ContentType="application/vnd.openxmlformats-officedocument.presentationml.tags+xml"/>
  <Override PartName="/ppt/tags/tag1382.xml" ContentType="application/vnd.openxmlformats-officedocument.presentationml.tags+xml"/>
  <Override PartName="/ppt/tags/tag1383.xml" ContentType="application/vnd.openxmlformats-officedocument.presentationml.tags+xml"/>
  <Override PartName="/ppt/tags/tag1384.xml" ContentType="application/vnd.openxmlformats-officedocument.presentationml.tags+xml"/>
  <Override PartName="/ppt/tags/tag1385.xml" ContentType="application/vnd.openxmlformats-officedocument.presentationml.tags+xml"/>
  <Override PartName="/ppt/tags/tag1386.xml" ContentType="application/vnd.openxmlformats-officedocument.presentationml.tags+xml"/>
  <Override PartName="/ppt/tags/tag1387.xml" ContentType="application/vnd.openxmlformats-officedocument.presentationml.tags+xml"/>
  <Override PartName="/ppt/tags/tag1388.xml" ContentType="application/vnd.openxmlformats-officedocument.presentationml.tags+xml"/>
  <Override PartName="/ppt/tags/tag1389.xml" ContentType="application/vnd.openxmlformats-officedocument.presentationml.tags+xml"/>
  <Override PartName="/ppt/tags/tag1390.xml" ContentType="application/vnd.openxmlformats-officedocument.presentationml.tags+xml"/>
  <Override PartName="/ppt/tags/tag1391.xml" ContentType="application/vnd.openxmlformats-officedocument.presentationml.tags+xml"/>
  <Override PartName="/ppt/tags/tag1392.xml" ContentType="application/vnd.openxmlformats-officedocument.presentationml.tags+xml"/>
  <Override PartName="/ppt/tags/tag1393.xml" ContentType="application/vnd.openxmlformats-officedocument.presentationml.tags+xml"/>
  <Override PartName="/ppt/tags/tag1394.xml" ContentType="application/vnd.openxmlformats-officedocument.presentationml.tags+xml"/>
  <Override PartName="/ppt/tags/tag1395.xml" ContentType="application/vnd.openxmlformats-officedocument.presentationml.tags+xml"/>
  <Override PartName="/ppt/tags/tag1396.xml" ContentType="application/vnd.openxmlformats-officedocument.presentationml.tags+xml"/>
  <Override PartName="/ppt/tags/tag1397.xml" ContentType="application/vnd.openxmlformats-officedocument.presentationml.tags+xml"/>
  <Override PartName="/ppt/tags/tag1398.xml" ContentType="application/vnd.openxmlformats-officedocument.presentationml.tags+xml"/>
  <Override PartName="/ppt/tags/tag1399.xml" ContentType="application/vnd.openxmlformats-officedocument.presentationml.tags+xml"/>
  <Override PartName="/ppt/tags/tag1400.xml" ContentType="application/vnd.openxmlformats-officedocument.presentationml.tags+xml"/>
  <Override PartName="/ppt/tags/tag1401.xml" ContentType="application/vnd.openxmlformats-officedocument.presentationml.tags+xml"/>
  <Override PartName="/ppt/tags/tag1402.xml" ContentType="application/vnd.openxmlformats-officedocument.presentationml.tags+xml"/>
  <Override PartName="/ppt/tags/tag1403.xml" ContentType="application/vnd.openxmlformats-officedocument.presentationml.tags+xml"/>
  <Override PartName="/ppt/tags/tag1404.xml" ContentType="application/vnd.openxmlformats-officedocument.presentationml.tags+xml"/>
  <Override PartName="/ppt/tags/tag1405.xml" ContentType="application/vnd.openxmlformats-officedocument.presentationml.tags+xml"/>
  <Override PartName="/ppt/tags/tag1406.xml" ContentType="application/vnd.openxmlformats-officedocument.presentationml.tags+xml"/>
  <Override PartName="/ppt/tags/tag1407.xml" ContentType="application/vnd.openxmlformats-officedocument.presentationml.tags+xml"/>
  <Override PartName="/ppt/tags/tag1408.xml" ContentType="application/vnd.openxmlformats-officedocument.presentationml.tags+xml"/>
  <Override PartName="/ppt/tags/tag1409.xml" ContentType="application/vnd.openxmlformats-officedocument.presentationml.tags+xml"/>
  <Override PartName="/ppt/tags/tag1410.xml" ContentType="application/vnd.openxmlformats-officedocument.presentationml.tags+xml"/>
  <Override PartName="/ppt/tags/tag1411.xml" ContentType="application/vnd.openxmlformats-officedocument.presentationml.tags+xml"/>
  <Override PartName="/ppt/tags/tag1412.xml" ContentType="application/vnd.openxmlformats-officedocument.presentationml.tags+xml"/>
  <Override PartName="/ppt/tags/tag1413.xml" ContentType="application/vnd.openxmlformats-officedocument.presentationml.tags+xml"/>
  <Override PartName="/ppt/tags/tag1414.xml" ContentType="application/vnd.openxmlformats-officedocument.presentationml.tags+xml"/>
  <Override PartName="/ppt/tags/tag1415.xml" ContentType="application/vnd.openxmlformats-officedocument.presentationml.tags+xml"/>
  <Override PartName="/ppt/tags/tag1416.xml" ContentType="application/vnd.openxmlformats-officedocument.presentationml.tags+xml"/>
  <Override PartName="/ppt/tags/tag1417.xml" ContentType="application/vnd.openxmlformats-officedocument.presentationml.tags+xml"/>
  <Override PartName="/ppt/tags/tag1418.xml" ContentType="application/vnd.openxmlformats-officedocument.presentationml.tags+xml"/>
  <Override PartName="/ppt/tags/tag1419.xml" ContentType="application/vnd.openxmlformats-officedocument.presentationml.tags+xml"/>
  <Override PartName="/ppt/tags/tag1420.xml" ContentType="application/vnd.openxmlformats-officedocument.presentationml.tags+xml"/>
  <Override PartName="/ppt/tags/tag1421.xml" ContentType="application/vnd.openxmlformats-officedocument.presentationml.tags+xml"/>
  <Override PartName="/ppt/tags/tag1422.xml" ContentType="application/vnd.openxmlformats-officedocument.presentationml.tags+xml"/>
  <Override PartName="/ppt/tags/tag1423.xml" ContentType="application/vnd.openxmlformats-officedocument.presentationml.tags+xml"/>
  <Override PartName="/ppt/tags/tag1424.xml" ContentType="application/vnd.openxmlformats-officedocument.presentationml.tags+xml"/>
  <Override PartName="/ppt/tags/tag1425.xml" ContentType="application/vnd.openxmlformats-officedocument.presentationml.tags+xml"/>
  <Override PartName="/ppt/tags/tag1426.xml" ContentType="application/vnd.openxmlformats-officedocument.presentationml.tags+xml"/>
  <Override PartName="/ppt/tags/tag1427.xml" ContentType="application/vnd.openxmlformats-officedocument.presentationml.tags+xml"/>
  <Override PartName="/ppt/tags/tag1428.xml" ContentType="application/vnd.openxmlformats-officedocument.presentationml.tags+xml"/>
  <Override PartName="/ppt/tags/tag1429.xml" ContentType="application/vnd.openxmlformats-officedocument.presentationml.tags+xml"/>
  <Override PartName="/ppt/tags/tag1430.xml" ContentType="application/vnd.openxmlformats-officedocument.presentationml.tags+xml"/>
  <Override PartName="/ppt/tags/tag1431.xml" ContentType="application/vnd.openxmlformats-officedocument.presentationml.tags+xml"/>
  <Override PartName="/ppt/tags/tag1432.xml" ContentType="application/vnd.openxmlformats-officedocument.presentationml.tags+xml"/>
  <Override PartName="/ppt/tags/tag1433.xml" ContentType="application/vnd.openxmlformats-officedocument.presentationml.tags+xml"/>
  <Override PartName="/ppt/tags/tag1434.xml" ContentType="application/vnd.openxmlformats-officedocument.presentationml.tags+xml"/>
  <Override PartName="/ppt/tags/tag1435.xml" ContentType="application/vnd.openxmlformats-officedocument.presentationml.tags+xml"/>
  <Override PartName="/ppt/tags/tag1436.xml" ContentType="application/vnd.openxmlformats-officedocument.presentationml.tags+xml"/>
  <Override PartName="/ppt/tags/tag1437.xml" ContentType="application/vnd.openxmlformats-officedocument.presentationml.tags+xml"/>
  <Override PartName="/ppt/tags/tag1438.xml" ContentType="application/vnd.openxmlformats-officedocument.presentationml.tags+xml"/>
  <Override PartName="/ppt/tags/tag1439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20.xml" ContentType="application/vnd.openxmlformats-officedocument.drawingml.chart+xml"/>
  <Override PartName="/ppt/tags/tag1440.xml" ContentType="application/vnd.openxmlformats-officedocument.presentationml.tags+xml"/>
  <Override PartName="/ppt/tags/tag1441.xml" ContentType="application/vnd.openxmlformats-officedocument.presentationml.tags+xml"/>
  <Override PartName="/ppt/tags/tag1442.xml" ContentType="application/vnd.openxmlformats-officedocument.presentationml.tags+xml"/>
  <Override PartName="/ppt/tags/tag1443.xml" ContentType="application/vnd.openxmlformats-officedocument.presentationml.tags+xml"/>
  <Override PartName="/ppt/tags/tag1444.xml" ContentType="application/vnd.openxmlformats-officedocument.presentationml.tags+xml"/>
  <Override PartName="/ppt/tags/tag1445.xml" ContentType="application/vnd.openxmlformats-officedocument.presentationml.tags+xml"/>
  <Override PartName="/ppt/tags/tag1446.xml" ContentType="application/vnd.openxmlformats-officedocument.presentationml.tags+xml"/>
  <Override PartName="/ppt/tags/tag1447.xml" ContentType="application/vnd.openxmlformats-officedocument.presentationml.tags+xml"/>
  <Override PartName="/ppt/tags/tag1448.xml" ContentType="application/vnd.openxmlformats-officedocument.presentationml.tags+xml"/>
  <Override PartName="/ppt/tags/tag1449.xml" ContentType="application/vnd.openxmlformats-officedocument.presentationml.tags+xml"/>
  <Override PartName="/ppt/tags/tag1450.xml" ContentType="application/vnd.openxmlformats-officedocument.presentationml.tags+xml"/>
  <Override PartName="/ppt/tags/tag1451.xml" ContentType="application/vnd.openxmlformats-officedocument.presentationml.tags+xml"/>
  <Override PartName="/ppt/tags/tag1452.xml" ContentType="application/vnd.openxmlformats-officedocument.presentationml.tags+xml"/>
  <Override PartName="/ppt/tags/tag1453.xml" ContentType="application/vnd.openxmlformats-officedocument.presentationml.tags+xml"/>
  <Override PartName="/ppt/tags/tag1454.xml" ContentType="application/vnd.openxmlformats-officedocument.presentationml.tags+xml"/>
  <Override PartName="/ppt/tags/tag1455.xml" ContentType="application/vnd.openxmlformats-officedocument.presentationml.tags+xml"/>
  <Override PartName="/ppt/tags/tag1456.xml" ContentType="application/vnd.openxmlformats-officedocument.presentationml.tags+xml"/>
  <Override PartName="/ppt/tags/tag1457.xml" ContentType="application/vnd.openxmlformats-officedocument.presentationml.tags+xml"/>
  <Override PartName="/ppt/tags/tag1458.xml" ContentType="application/vnd.openxmlformats-officedocument.presentationml.tags+xml"/>
  <Override PartName="/ppt/tags/tag1459.xml" ContentType="application/vnd.openxmlformats-officedocument.presentationml.tags+xml"/>
  <Override PartName="/ppt/tags/tag1460.xml" ContentType="application/vnd.openxmlformats-officedocument.presentationml.tags+xml"/>
  <Override PartName="/ppt/tags/tag1461.xml" ContentType="application/vnd.openxmlformats-officedocument.presentationml.tags+xml"/>
  <Override PartName="/ppt/tags/tag1462.xml" ContentType="application/vnd.openxmlformats-officedocument.presentationml.tags+xml"/>
  <Override PartName="/ppt/tags/tag1463.xml" ContentType="application/vnd.openxmlformats-officedocument.presentationml.tags+xml"/>
  <Override PartName="/ppt/tags/tag1464.xml" ContentType="application/vnd.openxmlformats-officedocument.presentationml.tags+xml"/>
  <Override PartName="/ppt/tags/tag1465.xml" ContentType="application/vnd.openxmlformats-officedocument.presentationml.tags+xml"/>
  <Override PartName="/ppt/tags/tag1466.xml" ContentType="application/vnd.openxmlformats-officedocument.presentationml.tags+xml"/>
  <Override PartName="/ppt/tags/tag1467.xml" ContentType="application/vnd.openxmlformats-officedocument.presentationml.tags+xml"/>
  <Override PartName="/ppt/tags/tag1468.xml" ContentType="application/vnd.openxmlformats-officedocument.presentationml.tags+xml"/>
  <Override PartName="/ppt/tags/tag1469.xml" ContentType="application/vnd.openxmlformats-officedocument.presentationml.tags+xml"/>
  <Override PartName="/ppt/tags/tag1470.xml" ContentType="application/vnd.openxmlformats-officedocument.presentationml.tags+xml"/>
  <Override PartName="/ppt/tags/tag1471.xml" ContentType="application/vnd.openxmlformats-officedocument.presentationml.tags+xml"/>
  <Override PartName="/ppt/tags/tag1472.xml" ContentType="application/vnd.openxmlformats-officedocument.presentationml.tags+xml"/>
  <Override PartName="/ppt/tags/tag1473.xml" ContentType="application/vnd.openxmlformats-officedocument.presentationml.tags+xml"/>
  <Override PartName="/ppt/tags/tag1474.xml" ContentType="application/vnd.openxmlformats-officedocument.presentationml.tags+xml"/>
  <Override PartName="/ppt/tags/tag1475.xml" ContentType="application/vnd.openxmlformats-officedocument.presentationml.tags+xml"/>
  <Override PartName="/ppt/tags/tag1476.xml" ContentType="application/vnd.openxmlformats-officedocument.presentationml.tags+xml"/>
  <Override PartName="/ppt/tags/tag1477.xml" ContentType="application/vnd.openxmlformats-officedocument.presentationml.tags+xml"/>
  <Override PartName="/ppt/tags/tag1478.xml" ContentType="application/vnd.openxmlformats-officedocument.presentationml.tags+xml"/>
  <Override PartName="/ppt/tags/tag1479.xml" ContentType="application/vnd.openxmlformats-officedocument.presentationml.tags+xml"/>
  <Override PartName="/ppt/tags/tag1480.xml" ContentType="application/vnd.openxmlformats-officedocument.presentationml.tags+xml"/>
  <Override PartName="/ppt/tags/tag1481.xml" ContentType="application/vnd.openxmlformats-officedocument.presentationml.tags+xml"/>
  <Override PartName="/ppt/tags/tag1482.xml" ContentType="application/vnd.openxmlformats-officedocument.presentationml.tags+xml"/>
  <Override PartName="/ppt/tags/tag1483.xml" ContentType="application/vnd.openxmlformats-officedocument.presentationml.tags+xml"/>
  <Override PartName="/ppt/tags/tag1484.xml" ContentType="application/vnd.openxmlformats-officedocument.presentationml.tags+xml"/>
  <Override PartName="/ppt/tags/tag1485.xml" ContentType="application/vnd.openxmlformats-officedocument.presentationml.tags+xml"/>
  <Override PartName="/ppt/tags/tag1486.xml" ContentType="application/vnd.openxmlformats-officedocument.presentationml.tags+xml"/>
  <Override PartName="/ppt/tags/tag1487.xml" ContentType="application/vnd.openxmlformats-officedocument.presentationml.tags+xml"/>
  <Override PartName="/ppt/tags/tag1488.xml" ContentType="application/vnd.openxmlformats-officedocument.presentationml.tags+xml"/>
  <Override PartName="/ppt/tags/tag1489.xml" ContentType="application/vnd.openxmlformats-officedocument.presentationml.tags+xml"/>
  <Override PartName="/ppt/tags/tag1490.xml" ContentType="application/vnd.openxmlformats-officedocument.presentationml.tags+xml"/>
  <Override PartName="/ppt/tags/tag1491.xml" ContentType="application/vnd.openxmlformats-officedocument.presentationml.tags+xml"/>
  <Override PartName="/ppt/tags/tag1492.xml" ContentType="application/vnd.openxmlformats-officedocument.presentationml.tags+xml"/>
  <Override PartName="/ppt/tags/tag1493.xml" ContentType="application/vnd.openxmlformats-officedocument.presentationml.tags+xml"/>
  <Override PartName="/ppt/tags/tag1494.xml" ContentType="application/vnd.openxmlformats-officedocument.presentationml.tags+xml"/>
  <Override PartName="/ppt/tags/tag1495.xml" ContentType="application/vnd.openxmlformats-officedocument.presentationml.tags+xml"/>
  <Override PartName="/ppt/tags/tag1496.xml" ContentType="application/vnd.openxmlformats-officedocument.presentationml.tags+xml"/>
  <Override PartName="/ppt/tags/tag1497.xml" ContentType="application/vnd.openxmlformats-officedocument.presentationml.tags+xml"/>
  <Override PartName="/ppt/tags/tag1498.xml" ContentType="application/vnd.openxmlformats-officedocument.presentationml.tags+xml"/>
  <Override PartName="/ppt/tags/tag1499.xml" ContentType="application/vnd.openxmlformats-officedocument.presentationml.tags+xml"/>
  <Override PartName="/ppt/tags/tag1500.xml" ContentType="application/vnd.openxmlformats-officedocument.presentationml.tags+xml"/>
  <Override PartName="/ppt/tags/tag1501.xml" ContentType="application/vnd.openxmlformats-officedocument.presentationml.tags+xml"/>
  <Override PartName="/ppt/notesSlides/notesSlide21.xml" ContentType="application/vnd.openxmlformats-officedocument.presentationml.notesSlide+xml"/>
  <Override PartName="/ppt/charts/chart21.xml" ContentType="application/vnd.openxmlformats-officedocument.drawingml.chart+xml"/>
  <Override PartName="/ppt/tags/tag1502.xml" ContentType="application/vnd.openxmlformats-officedocument.presentationml.tags+xml"/>
  <Override PartName="/ppt/tags/tag1503.xml" ContentType="application/vnd.openxmlformats-officedocument.presentationml.tags+xml"/>
  <Override PartName="/ppt/tags/tag1504.xml" ContentType="application/vnd.openxmlformats-officedocument.presentationml.tags+xml"/>
  <Override PartName="/ppt/tags/tag1505.xml" ContentType="application/vnd.openxmlformats-officedocument.presentationml.tags+xml"/>
  <Override PartName="/ppt/tags/tag1506.xml" ContentType="application/vnd.openxmlformats-officedocument.presentationml.tags+xml"/>
  <Override PartName="/ppt/tags/tag1507.xml" ContentType="application/vnd.openxmlformats-officedocument.presentationml.tags+xml"/>
  <Override PartName="/ppt/tags/tag1508.xml" ContentType="application/vnd.openxmlformats-officedocument.presentationml.tags+xml"/>
  <Override PartName="/ppt/tags/tag1509.xml" ContentType="application/vnd.openxmlformats-officedocument.presentationml.tags+xml"/>
  <Override PartName="/ppt/tags/tag1510.xml" ContentType="application/vnd.openxmlformats-officedocument.presentationml.tags+xml"/>
  <Override PartName="/ppt/tags/tag1511.xml" ContentType="application/vnd.openxmlformats-officedocument.presentationml.tags+xml"/>
  <Override PartName="/ppt/tags/tag1512.xml" ContentType="application/vnd.openxmlformats-officedocument.presentationml.tags+xml"/>
  <Override PartName="/ppt/tags/tag1513.xml" ContentType="application/vnd.openxmlformats-officedocument.presentationml.tags+xml"/>
  <Override PartName="/ppt/tags/tag1514.xml" ContentType="application/vnd.openxmlformats-officedocument.presentationml.tags+xml"/>
  <Override PartName="/ppt/tags/tag1515.xml" ContentType="application/vnd.openxmlformats-officedocument.presentationml.tags+xml"/>
  <Override PartName="/ppt/tags/tag1516.xml" ContentType="application/vnd.openxmlformats-officedocument.presentationml.tags+xml"/>
  <Override PartName="/ppt/tags/tag1517.xml" ContentType="application/vnd.openxmlformats-officedocument.presentationml.tags+xml"/>
  <Override PartName="/ppt/tags/tag1518.xml" ContentType="application/vnd.openxmlformats-officedocument.presentationml.tags+xml"/>
  <Override PartName="/ppt/tags/tag1519.xml" ContentType="application/vnd.openxmlformats-officedocument.presentationml.tags+xml"/>
  <Override PartName="/ppt/tags/tag1520.xml" ContentType="application/vnd.openxmlformats-officedocument.presentationml.tags+xml"/>
  <Override PartName="/ppt/tags/tag1521.xml" ContentType="application/vnd.openxmlformats-officedocument.presentationml.tags+xml"/>
  <Override PartName="/ppt/tags/tag1522.xml" ContentType="application/vnd.openxmlformats-officedocument.presentationml.tags+xml"/>
  <Override PartName="/ppt/tags/tag1523.xml" ContentType="application/vnd.openxmlformats-officedocument.presentationml.tags+xml"/>
  <Override PartName="/ppt/tags/tag1524.xml" ContentType="application/vnd.openxmlformats-officedocument.presentationml.tags+xml"/>
  <Override PartName="/ppt/tags/tag1525.xml" ContentType="application/vnd.openxmlformats-officedocument.presentationml.tags+xml"/>
  <Override PartName="/ppt/tags/tag1526.xml" ContentType="application/vnd.openxmlformats-officedocument.presentationml.tags+xml"/>
  <Override PartName="/ppt/tags/tag1527.xml" ContentType="application/vnd.openxmlformats-officedocument.presentationml.tags+xml"/>
  <Override PartName="/ppt/tags/tag1528.xml" ContentType="application/vnd.openxmlformats-officedocument.presentationml.tags+xml"/>
  <Override PartName="/ppt/tags/tag1529.xml" ContentType="application/vnd.openxmlformats-officedocument.presentationml.tags+xml"/>
  <Override PartName="/ppt/tags/tag1530.xml" ContentType="application/vnd.openxmlformats-officedocument.presentationml.tags+xml"/>
  <Override PartName="/ppt/tags/tag1531.xml" ContentType="application/vnd.openxmlformats-officedocument.presentationml.tags+xml"/>
  <Override PartName="/ppt/tags/tag1532.xml" ContentType="application/vnd.openxmlformats-officedocument.presentationml.tags+xml"/>
  <Override PartName="/ppt/tags/tag1533.xml" ContentType="application/vnd.openxmlformats-officedocument.presentationml.tags+xml"/>
  <Override PartName="/ppt/tags/tag1534.xml" ContentType="application/vnd.openxmlformats-officedocument.presentationml.tags+xml"/>
  <Override PartName="/ppt/tags/tag1535.xml" ContentType="application/vnd.openxmlformats-officedocument.presentationml.tags+xml"/>
  <Override PartName="/ppt/tags/tag1536.xml" ContentType="application/vnd.openxmlformats-officedocument.presentationml.tags+xml"/>
  <Override PartName="/ppt/tags/tag1537.xml" ContentType="application/vnd.openxmlformats-officedocument.presentationml.tags+xml"/>
  <Override PartName="/ppt/tags/tag1538.xml" ContentType="application/vnd.openxmlformats-officedocument.presentationml.tags+xml"/>
  <Override PartName="/ppt/tags/tag1539.xml" ContentType="application/vnd.openxmlformats-officedocument.presentationml.tags+xml"/>
  <Override PartName="/ppt/tags/tag1540.xml" ContentType="application/vnd.openxmlformats-officedocument.presentationml.tags+xml"/>
  <Override PartName="/ppt/tags/tag1541.xml" ContentType="application/vnd.openxmlformats-officedocument.presentationml.tags+xml"/>
  <Override PartName="/ppt/tags/tag1542.xml" ContentType="application/vnd.openxmlformats-officedocument.presentationml.tags+xml"/>
  <Override PartName="/ppt/tags/tag1543.xml" ContentType="application/vnd.openxmlformats-officedocument.presentationml.tags+xml"/>
  <Override PartName="/ppt/tags/tag1544.xml" ContentType="application/vnd.openxmlformats-officedocument.presentationml.tags+xml"/>
  <Override PartName="/ppt/tags/tag1545.xml" ContentType="application/vnd.openxmlformats-officedocument.presentationml.tags+xml"/>
  <Override PartName="/ppt/tags/tag1546.xml" ContentType="application/vnd.openxmlformats-officedocument.presentationml.tags+xml"/>
  <Override PartName="/ppt/tags/tag1547.xml" ContentType="application/vnd.openxmlformats-officedocument.presentationml.tags+xml"/>
  <Override PartName="/ppt/tags/tag1548.xml" ContentType="application/vnd.openxmlformats-officedocument.presentationml.tags+xml"/>
  <Override PartName="/ppt/tags/tag1549.xml" ContentType="application/vnd.openxmlformats-officedocument.presentationml.tags+xml"/>
  <Override PartName="/ppt/tags/tag1550.xml" ContentType="application/vnd.openxmlformats-officedocument.presentationml.tags+xml"/>
  <Override PartName="/ppt/tags/tag1551.xml" ContentType="application/vnd.openxmlformats-officedocument.presentationml.tags+xml"/>
  <Override PartName="/ppt/tags/tag1552.xml" ContentType="application/vnd.openxmlformats-officedocument.presentationml.tags+xml"/>
  <Override PartName="/ppt/tags/tag1553.xml" ContentType="application/vnd.openxmlformats-officedocument.presentationml.tags+xml"/>
  <Override PartName="/ppt/tags/tag1554.xml" ContentType="application/vnd.openxmlformats-officedocument.presentationml.tags+xml"/>
  <Override PartName="/ppt/tags/tag1555.xml" ContentType="application/vnd.openxmlformats-officedocument.presentationml.tags+xml"/>
  <Override PartName="/ppt/tags/tag1556.xml" ContentType="application/vnd.openxmlformats-officedocument.presentationml.tags+xml"/>
  <Override PartName="/ppt/tags/tag1557.xml" ContentType="application/vnd.openxmlformats-officedocument.presentationml.tags+xml"/>
  <Override PartName="/ppt/tags/tag1558.xml" ContentType="application/vnd.openxmlformats-officedocument.presentationml.tags+xml"/>
  <Override PartName="/ppt/tags/tag1559.xml" ContentType="application/vnd.openxmlformats-officedocument.presentationml.tags+xml"/>
  <Override PartName="/ppt/tags/tag1560.xml" ContentType="application/vnd.openxmlformats-officedocument.presentationml.tags+xml"/>
  <Override PartName="/ppt/tags/tag1561.xml" ContentType="application/vnd.openxmlformats-officedocument.presentationml.tags+xml"/>
  <Override PartName="/ppt/tags/tag1562.xml" ContentType="application/vnd.openxmlformats-officedocument.presentationml.tags+xml"/>
  <Override PartName="/ppt/tags/tag1563.xml" ContentType="application/vnd.openxmlformats-officedocument.presentationml.tags+xml"/>
  <Override PartName="/ppt/tags/tag1564.xml" ContentType="application/vnd.openxmlformats-officedocument.presentationml.tags+xml"/>
  <Override PartName="/ppt/tags/tag1565.xml" ContentType="application/vnd.openxmlformats-officedocument.presentationml.tags+xml"/>
  <Override PartName="/ppt/tags/tag1566.xml" ContentType="application/vnd.openxmlformats-officedocument.presentationml.tags+xml"/>
  <Override PartName="/ppt/tags/tag1567.xml" ContentType="application/vnd.openxmlformats-officedocument.presentationml.tags+xml"/>
  <Override PartName="/ppt/tags/tag1568.xml" ContentType="application/vnd.openxmlformats-officedocument.presentationml.tags+xml"/>
  <Override PartName="/ppt/tags/tag1569.xml" ContentType="application/vnd.openxmlformats-officedocument.presentationml.tags+xml"/>
  <Override PartName="/ppt/tags/tag1570.xml" ContentType="application/vnd.openxmlformats-officedocument.presentationml.tags+xml"/>
  <Override PartName="/ppt/tags/tag1571.xml" ContentType="application/vnd.openxmlformats-officedocument.presentationml.tags+xml"/>
  <Override PartName="/ppt/tags/tag1572.xml" ContentType="application/vnd.openxmlformats-officedocument.presentationml.tags+xml"/>
  <Override PartName="/ppt/tags/tag1573.xml" ContentType="application/vnd.openxmlformats-officedocument.presentationml.tags+xml"/>
  <Override PartName="/ppt/tags/tag1574.xml" ContentType="application/vnd.openxmlformats-officedocument.presentationml.tags+xml"/>
  <Override PartName="/ppt/tags/tag1575.xml" ContentType="application/vnd.openxmlformats-officedocument.presentationml.tags+xml"/>
  <Override PartName="/ppt/tags/tag1576.xml" ContentType="application/vnd.openxmlformats-officedocument.presentationml.tags+xml"/>
  <Override PartName="/ppt/tags/tag1577.xml" ContentType="application/vnd.openxmlformats-officedocument.presentationml.tags+xml"/>
  <Override PartName="/ppt/tags/tag1578.xml" ContentType="application/vnd.openxmlformats-officedocument.presentationml.tags+xml"/>
  <Override PartName="/ppt/tags/tag1579.xml" ContentType="application/vnd.openxmlformats-officedocument.presentationml.tags+xml"/>
  <Override PartName="/ppt/tags/tag1580.xml" ContentType="application/vnd.openxmlformats-officedocument.presentationml.tags+xml"/>
  <Override PartName="/ppt/tags/tag1581.xml" ContentType="application/vnd.openxmlformats-officedocument.presentationml.tags+xml"/>
  <Override PartName="/ppt/tags/tag1582.xml" ContentType="application/vnd.openxmlformats-officedocument.presentationml.tags+xml"/>
  <Override PartName="/ppt/tags/tag1583.xml" ContentType="application/vnd.openxmlformats-officedocument.presentationml.tags+xml"/>
  <Override PartName="/ppt/tags/tag1584.xml" ContentType="application/vnd.openxmlformats-officedocument.presentationml.tags+xml"/>
  <Override PartName="/ppt/tags/tag1585.xml" ContentType="application/vnd.openxmlformats-officedocument.presentationml.tags+xml"/>
  <Override PartName="/ppt/tags/tag1586.xml" ContentType="application/vnd.openxmlformats-officedocument.presentationml.tags+xml"/>
  <Override PartName="/ppt/tags/tag1587.xml" ContentType="application/vnd.openxmlformats-officedocument.presentationml.tags+xml"/>
  <Override PartName="/ppt/tags/tag1588.xml" ContentType="application/vnd.openxmlformats-officedocument.presentationml.tags+xml"/>
  <Override PartName="/ppt/tags/tag1589.xml" ContentType="application/vnd.openxmlformats-officedocument.presentationml.tags+xml"/>
  <Override PartName="/ppt/tags/tag1590.xml" ContentType="application/vnd.openxmlformats-officedocument.presentationml.tags+xml"/>
  <Override PartName="/ppt/tags/tag1591.xml" ContentType="application/vnd.openxmlformats-officedocument.presentationml.tags+xml"/>
  <Override PartName="/ppt/tags/tag1592.xml" ContentType="application/vnd.openxmlformats-officedocument.presentationml.tags+xml"/>
  <Override PartName="/ppt/tags/tag1593.xml" ContentType="application/vnd.openxmlformats-officedocument.presentationml.tags+xml"/>
  <Override PartName="/ppt/tags/tag1594.xml" ContentType="application/vnd.openxmlformats-officedocument.presentationml.tags+xml"/>
  <Override PartName="/ppt/tags/tag1595.xml" ContentType="application/vnd.openxmlformats-officedocument.presentationml.tags+xml"/>
  <Override PartName="/ppt/tags/tag1596.xml" ContentType="application/vnd.openxmlformats-officedocument.presentationml.tags+xml"/>
  <Override PartName="/ppt/tags/tag1597.xml" ContentType="application/vnd.openxmlformats-officedocument.presentationml.tags+xml"/>
  <Override PartName="/ppt/tags/tag1598.xml" ContentType="application/vnd.openxmlformats-officedocument.presentationml.tags+xml"/>
  <Override PartName="/ppt/tags/tag1599.xml" ContentType="application/vnd.openxmlformats-officedocument.presentationml.tags+xml"/>
  <Override PartName="/ppt/tags/tag1600.xml" ContentType="application/vnd.openxmlformats-officedocument.presentationml.tags+xml"/>
  <Override PartName="/ppt/tags/tag1601.xml" ContentType="application/vnd.openxmlformats-officedocument.presentationml.tags+xml"/>
  <Override PartName="/ppt/tags/tag1602.xml" ContentType="application/vnd.openxmlformats-officedocument.presentationml.tags+xml"/>
  <Override PartName="/ppt/tags/tag1603.xml" ContentType="application/vnd.openxmlformats-officedocument.presentationml.tags+xml"/>
  <Override PartName="/ppt/tags/tag1604.xml" ContentType="application/vnd.openxmlformats-officedocument.presentationml.tags+xml"/>
  <Override PartName="/ppt/tags/tag1605.xml" ContentType="application/vnd.openxmlformats-officedocument.presentationml.tags+xml"/>
  <Override PartName="/ppt/tags/tag1606.xml" ContentType="application/vnd.openxmlformats-officedocument.presentationml.tags+xml"/>
  <Override PartName="/ppt/tags/tag1607.xml" ContentType="application/vnd.openxmlformats-officedocument.presentationml.tags+xml"/>
  <Override PartName="/ppt/tags/tag1608.xml" ContentType="application/vnd.openxmlformats-officedocument.presentationml.tags+xml"/>
  <Override PartName="/ppt/tags/tag1609.xml" ContentType="application/vnd.openxmlformats-officedocument.presentationml.tags+xml"/>
  <Override PartName="/ppt/tags/tag1610.xml" ContentType="application/vnd.openxmlformats-officedocument.presentationml.tags+xml"/>
  <Override PartName="/ppt/tags/tag1611.xml" ContentType="application/vnd.openxmlformats-officedocument.presentationml.tags+xml"/>
  <Override PartName="/ppt/tags/tag1612.xml" ContentType="application/vnd.openxmlformats-officedocument.presentationml.tags+xml"/>
  <Override PartName="/ppt/tags/tag1613.xml" ContentType="application/vnd.openxmlformats-officedocument.presentationml.tags+xml"/>
  <Override PartName="/ppt/tags/tag1614.xml" ContentType="application/vnd.openxmlformats-officedocument.presentationml.tags+xml"/>
  <Override PartName="/ppt/tags/tag1615.xml" ContentType="application/vnd.openxmlformats-officedocument.presentationml.tags+xml"/>
  <Override PartName="/ppt/tags/tag1616.xml" ContentType="application/vnd.openxmlformats-officedocument.presentationml.tags+xml"/>
  <Override PartName="/ppt/tags/tag1617.xml" ContentType="application/vnd.openxmlformats-officedocument.presentationml.tags+xml"/>
  <Override PartName="/ppt/tags/tag1618.xml" ContentType="application/vnd.openxmlformats-officedocument.presentationml.tags+xml"/>
  <Override PartName="/ppt/tags/tag1619.xml" ContentType="application/vnd.openxmlformats-officedocument.presentationml.tags+xml"/>
  <Override PartName="/ppt/tags/tag1620.xml" ContentType="application/vnd.openxmlformats-officedocument.presentationml.tags+xml"/>
  <Override PartName="/ppt/tags/tag1621.xml" ContentType="application/vnd.openxmlformats-officedocument.presentationml.tags+xml"/>
  <Override PartName="/ppt/tags/tag1622.xml" ContentType="application/vnd.openxmlformats-officedocument.presentationml.tags+xml"/>
  <Override PartName="/ppt/tags/tag1623.xml" ContentType="application/vnd.openxmlformats-officedocument.presentationml.tags+xml"/>
  <Override PartName="/ppt/tags/tag1624.xml" ContentType="application/vnd.openxmlformats-officedocument.presentationml.tags+xml"/>
  <Override PartName="/ppt/notesSlides/notesSlide22.xml" ContentType="application/vnd.openxmlformats-officedocument.presentationml.notesSlide+xml"/>
  <Override PartName="/ppt/charts/chart22.xml" ContentType="application/vnd.openxmlformats-officedocument.drawingml.chart+xml"/>
  <Override PartName="/ppt/tags/tag1625.xml" ContentType="application/vnd.openxmlformats-officedocument.presentationml.tags+xml"/>
  <Override PartName="/ppt/tags/tag1626.xml" ContentType="application/vnd.openxmlformats-officedocument.presentationml.tags+xml"/>
  <Override PartName="/ppt/tags/tag1627.xml" ContentType="application/vnd.openxmlformats-officedocument.presentationml.tags+xml"/>
  <Override PartName="/ppt/tags/tag1628.xml" ContentType="application/vnd.openxmlformats-officedocument.presentationml.tags+xml"/>
  <Override PartName="/ppt/tags/tag1629.xml" ContentType="application/vnd.openxmlformats-officedocument.presentationml.tags+xml"/>
  <Override PartName="/ppt/tags/tag1630.xml" ContentType="application/vnd.openxmlformats-officedocument.presentationml.tags+xml"/>
  <Override PartName="/ppt/tags/tag1631.xml" ContentType="application/vnd.openxmlformats-officedocument.presentationml.tags+xml"/>
  <Override PartName="/ppt/tags/tag1632.xml" ContentType="application/vnd.openxmlformats-officedocument.presentationml.tags+xml"/>
  <Override PartName="/ppt/tags/tag1633.xml" ContentType="application/vnd.openxmlformats-officedocument.presentationml.tags+xml"/>
  <Override PartName="/ppt/tags/tag1634.xml" ContentType="application/vnd.openxmlformats-officedocument.presentationml.tags+xml"/>
  <Override PartName="/ppt/tags/tag1635.xml" ContentType="application/vnd.openxmlformats-officedocument.presentationml.tags+xml"/>
  <Override PartName="/ppt/tags/tag1636.xml" ContentType="application/vnd.openxmlformats-officedocument.presentationml.tags+xml"/>
  <Override PartName="/ppt/tags/tag1637.xml" ContentType="application/vnd.openxmlformats-officedocument.presentationml.tags+xml"/>
  <Override PartName="/ppt/tags/tag1638.xml" ContentType="application/vnd.openxmlformats-officedocument.presentationml.tags+xml"/>
  <Override PartName="/ppt/tags/tag1639.xml" ContentType="application/vnd.openxmlformats-officedocument.presentationml.tags+xml"/>
  <Override PartName="/ppt/tags/tag1640.xml" ContentType="application/vnd.openxmlformats-officedocument.presentationml.tags+xml"/>
  <Override PartName="/ppt/tags/tag1641.xml" ContentType="application/vnd.openxmlformats-officedocument.presentationml.tags+xml"/>
  <Override PartName="/ppt/tags/tag1642.xml" ContentType="application/vnd.openxmlformats-officedocument.presentationml.tags+xml"/>
  <Override PartName="/ppt/tags/tag1643.xml" ContentType="application/vnd.openxmlformats-officedocument.presentationml.tags+xml"/>
  <Override PartName="/ppt/tags/tag1644.xml" ContentType="application/vnd.openxmlformats-officedocument.presentationml.tags+xml"/>
  <Override PartName="/ppt/tags/tag1645.xml" ContentType="application/vnd.openxmlformats-officedocument.presentationml.tags+xml"/>
  <Override PartName="/ppt/tags/tag1646.xml" ContentType="application/vnd.openxmlformats-officedocument.presentationml.tags+xml"/>
  <Override PartName="/ppt/tags/tag1647.xml" ContentType="application/vnd.openxmlformats-officedocument.presentationml.tags+xml"/>
  <Override PartName="/ppt/tags/tag1648.xml" ContentType="application/vnd.openxmlformats-officedocument.presentationml.tags+xml"/>
  <Override PartName="/ppt/tags/tag1649.xml" ContentType="application/vnd.openxmlformats-officedocument.presentationml.tags+xml"/>
  <Override PartName="/ppt/tags/tag1650.xml" ContentType="application/vnd.openxmlformats-officedocument.presentationml.tags+xml"/>
  <Override PartName="/ppt/tags/tag1651.xml" ContentType="application/vnd.openxmlformats-officedocument.presentationml.tags+xml"/>
  <Override PartName="/ppt/tags/tag1652.xml" ContentType="application/vnd.openxmlformats-officedocument.presentationml.tags+xml"/>
  <Override PartName="/ppt/tags/tag1653.xml" ContentType="application/vnd.openxmlformats-officedocument.presentationml.tags+xml"/>
  <Override PartName="/ppt/tags/tag1654.xml" ContentType="application/vnd.openxmlformats-officedocument.presentationml.tags+xml"/>
  <Override PartName="/ppt/tags/tag1655.xml" ContentType="application/vnd.openxmlformats-officedocument.presentationml.tags+xml"/>
  <Override PartName="/ppt/tags/tag1656.xml" ContentType="application/vnd.openxmlformats-officedocument.presentationml.tags+xml"/>
  <Override PartName="/ppt/tags/tag1657.xml" ContentType="application/vnd.openxmlformats-officedocument.presentationml.tags+xml"/>
  <Override PartName="/ppt/tags/tag1658.xml" ContentType="application/vnd.openxmlformats-officedocument.presentationml.tags+xml"/>
  <Override PartName="/ppt/tags/tag1659.xml" ContentType="application/vnd.openxmlformats-officedocument.presentationml.tags+xml"/>
  <Override PartName="/ppt/tags/tag1660.xml" ContentType="application/vnd.openxmlformats-officedocument.presentationml.tags+xml"/>
  <Override PartName="/ppt/tags/tag1661.xml" ContentType="application/vnd.openxmlformats-officedocument.presentationml.tags+xml"/>
  <Override PartName="/ppt/tags/tag1662.xml" ContentType="application/vnd.openxmlformats-officedocument.presentationml.tags+xml"/>
  <Override PartName="/ppt/tags/tag1663.xml" ContentType="application/vnd.openxmlformats-officedocument.presentationml.tags+xml"/>
  <Override PartName="/ppt/tags/tag1664.xml" ContentType="application/vnd.openxmlformats-officedocument.presentationml.tags+xml"/>
  <Override PartName="/ppt/tags/tag1665.xml" ContentType="application/vnd.openxmlformats-officedocument.presentationml.tags+xml"/>
  <Override PartName="/ppt/tags/tag1666.xml" ContentType="application/vnd.openxmlformats-officedocument.presentationml.tags+xml"/>
  <Override PartName="/ppt/tags/tag1667.xml" ContentType="application/vnd.openxmlformats-officedocument.presentationml.tags+xml"/>
  <Override PartName="/ppt/tags/tag1668.xml" ContentType="application/vnd.openxmlformats-officedocument.presentationml.tags+xml"/>
  <Override PartName="/ppt/tags/tag1669.xml" ContentType="application/vnd.openxmlformats-officedocument.presentationml.tags+xml"/>
  <Override PartName="/ppt/tags/tag1670.xml" ContentType="application/vnd.openxmlformats-officedocument.presentationml.tags+xml"/>
  <Override PartName="/ppt/tags/tag1671.xml" ContentType="application/vnd.openxmlformats-officedocument.presentationml.tags+xml"/>
  <Override PartName="/ppt/tags/tag1672.xml" ContentType="application/vnd.openxmlformats-officedocument.presentationml.tags+xml"/>
  <Override PartName="/ppt/tags/tag1673.xml" ContentType="application/vnd.openxmlformats-officedocument.presentationml.tags+xml"/>
  <Override PartName="/ppt/tags/tag1674.xml" ContentType="application/vnd.openxmlformats-officedocument.presentationml.tags+xml"/>
  <Override PartName="/ppt/tags/tag1675.xml" ContentType="application/vnd.openxmlformats-officedocument.presentationml.tags+xml"/>
  <Override PartName="/ppt/tags/tag1676.xml" ContentType="application/vnd.openxmlformats-officedocument.presentationml.tags+xml"/>
  <Override PartName="/ppt/tags/tag1677.xml" ContentType="application/vnd.openxmlformats-officedocument.presentationml.tags+xml"/>
  <Override PartName="/ppt/tags/tag1678.xml" ContentType="application/vnd.openxmlformats-officedocument.presentationml.tags+xml"/>
  <Override PartName="/ppt/tags/tag1679.xml" ContentType="application/vnd.openxmlformats-officedocument.presentationml.tags+xml"/>
  <Override PartName="/ppt/tags/tag1680.xml" ContentType="application/vnd.openxmlformats-officedocument.presentationml.tags+xml"/>
  <Override PartName="/ppt/tags/tag1681.xml" ContentType="application/vnd.openxmlformats-officedocument.presentationml.tags+xml"/>
  <Override PartName="/ppt/notesSlides/notesSlide23.xml" ContentType="application/vnd.openxmlformats-officedocument.presentationml.notesSlide+xml"/>
  <Override PartName="/ppt/charts/chart23.xml" ContentType="application/vnd.openxmlformats-officedocument.drawingml.chart+xml"/>
  <Override PartName="/ppt/tags/tag1682.xml" ContentType="application/vnd.openxmlformats-officedocument.presentationml.tags+xml"/>
  <Override PartName="/ppt/tags/tag1683.xml" ContentType="application/vnd.openxmlformats-officedocument.presentationml.tags+xml"/>
  <Override PartName="/ppt/tags/tag1684.xml" ContentType="application/vnd.openxmlformats-officedocument.presentationml.tags+xml"/>
  <Override PartName="/ppt/tags/tag1685.xml" ContentType="application/vnd.openxmlformats-officedocument.presentationml.tags+xml"/>
  <Override PartName="/ppt/tags/tag1686.xml" ContentType="application/vnd.openxmlformats-officedocument.presentationml.tags+xml"/>
  <Override PartName="/ppt/tags/tag1687.xml" ContentType="application/vnd.openxmlformats-officedocument.presentationml.tags+xml"/>
  <Override PartName="/ppt/tags/tag1688.xml" ContentType="application/vnd.openxmlformats-officedocument.presentationml.tags+xml"/>
  <Override PartName="/ppt/tags/tag1689.xml" ContentType="application/vnd.openxmlformats-officedocument.presentationml.tags+xml"/>
  <Override PartName="/ppt/tags/tag1690.xml" ContentType="application/vnd.openxmlformats-officedocument.presentationml.tags+xml"/>
  <Override PartName="/ppt/tags/tag1691.xml" ContentType="application/vnd.openxmlformats-officedocument.presentationml.tags+xml"/>
  <Override PartName="/ppt/tags/tag1692.xml" ContentType="application/vnd.openxmlformats-officedocument.presentationml.tags+xml"/>
  <Override PartName="/ppt/tags/tag1693.xml" ContentType="application/vnd.openxmlformats-officedocument.presentationml.tags+xml"/>
  <Override PartName="/ppt/tags/tag1694.xml" ContentType="application/vnd.openxmlformats-officedocument.presentationml.tags+xml"/>
  <Override PartName="/ppt/tags/tag1695.xml" ContentType="application/vnd.openxmlformats-officedocument.presentationml.tags+xml"/>
  <Override PartName="/ppt/tags/tag1696.xml" ContentType="application/vnd.openxmlformats-officedocument.presentationml.tags+xml"/>
  <Override PartName="/ppt/tags/tag1697.xml" ContentType="application/vnd.openxmlformats-officedocument.presentationml.tags+xml"/>
  <Override PartName="/ppt/tags/tag1698.xml" ContentType="application/vnd.openxmlformats-officedocument.presentationml.tags+xml"/>
  <Override PartName="/ppt/tags/tag1699.xml" ContentType="application/vnd.openxmlformats-officedocument.presentationml.tags+xml"/>
  <Override PartName="/ppt/tags/tag1700.xml" ContentType="application/vnd.openxmlformats-officedocument.presentationml.tags+xml"/>
  <Override PartName="/ppt/tags/tag1701.xml" ContentType="application/vnd.openxmlformats-officedocument.presentationml.tags+xml"/>
  <Override PartName="/ppt/tags/tag1702.xml" ContentType="application/vnd.openxmlformats-officedocument.presentationml.tags+xml"/>
  <Override PartName="/ppt/tags/tag1703.xml" ContentType="application/vnd.openxmlformats-officedocument.presentationml.tags+xml"/>
  <Override PartName="/ppt/tags/tag1704.xml" ContentType="application/vnd.openxmlformats-officedocument.presentationml.tags+xml"/>
  <Override PartName="/ppt/tags/tag1705.xml" ContentType="application/vnd.openxmlformats-officedocument.presentationml.tags+xml"/>
  <Override PartName="/ppt/tags/tag1706.xml" ContentType="application/vnd.openxmlformats-officedocument.presentationml.tags+xml"/>
  <Override PartName="/ppt/tags/tag1707.xml" ContentType="application/vnd.openxmlformats-officedocument.presentationml.tags+xml"/>
  <Override PartName="/ppt/tags/tag1708.xml" ContentType="application/vnd.openxmlformats-officedocument.presentationml.tags+xml"/>
  <Override PartName="/ppt/tags/tag1709.xml" ContentType="application/vnd.openxmlformats-officedocument.presentationml.tags+xml"/>
  <Override PartName="/ppt/tags/tag1710.xml" ContentType="application/vnd.openxmlformats-officedocument.presentationml.tags+xml"/>
  <Override PartName="/ppt/tags/tag1711.xml" ContentType="application/vnd.openxmlformats-officedocument.presentationml.tags+xml"/>
  <Override PartName="/ppt/tags/tag1712.xml" ContentType="application/vnd.openxmlformats-officedocument.presentationml.tags+xml"/>
  <Override PartName="/ppt/tags/tag1713.xml" ContentType="application/vnd.openxmlformats-officedocument.presentationml.tags+xml"/>
  <Override PartName="/ppt/tags/tag1714.xml" ContentType="application/vnd.openxmlformats-officedocument.presentationml.tags+xml"/>
  <Override PartName="/ppt/tags/tag1715.xml" ContentType="application/vnd.openxmlformats-officedocument.presentationml.tags+xml"/>
  <Override PartName="/ppt/tags/tag1716.xml" ContentType="application/vnd.openxmlformats-officedocument.presentationml.tags+xml"/>
  <Override PartName="/ppt/tags/tag1717.xml" ContentType="application/vnd.openxmlformats-officedocument.presentationml.tags+xml"/>
  <Override PartName="/ppt/tags/tag1718.xml" ContentType="application/vnd.openxmlformats-officedocument.presentationml.tags+xml"/>
  <Override PartName="/ppt/tags/tag1719.xml" ContentType="application/vnd.openxmlformats-officedocument.presentationml.tags+xml"/>
  <Override PartName="/ppt/tags/tag1720.xml" ContentType="application/vnd.openxmlformats-officedocument.presentationml.tags+xml"/>
  <Override PartName="/ppt/tags/tag1721.xml" ContentType="application/vnd.openxmlformats-officedocument.presentationml.tags+xml"/>
  <Override PartName="/ppt/tags/tag1722.xml" ContentType="application/vnd.openxmlformats-officedocument.presentationml.tags+xml"/>
  <Override PartName="/ppt/tags/tag1723.xml" ContentType="application/vnd.openxmlformats-officedocument.presentationml.tags+xml"/>
  <Override PartName="/ppt/tags/tag1724.xml" ContentType="application/vnd.openxmlformats-officedocument.presentationml.tags+xml"/>
  <Override PartName="/ppt/tags/tag1725.xml" ContentType="application/vnd.openxmlformats-officedocument.presentationml.tags+xml"/>
  <Override PartName="/ppt/tags/tag1726.xml" ContentType="application/vnd.openxmlformats-officedocument.presentationml.tags+xml"/>
  <Override PartName="/ppt/tags/tag1727.xml" ContentType="application/vnd.openxmlformats-officedocument.presentationml.tags+xml"/>
  <Override PartName="/ppt/tags/tag1728.xml" ContentType="application/vnd.openxmlformats-officedocument.presentationml.tags+xml"/>
  <Override PartName="/ppt/tags/tag1729.xml" ContentType="application/vnd.openxmlformats-officedocument.presentationml.tags+xml"/>
  <Override PartName="/ppt/tags/tag1730.xml" ContentType="application/vnd.openxmlformats-officedocument.presentationml.tags+xml"/>
  <Override PartName="/ppt/tags/tag1731.xml" ContentType="application/vnd.openxmlformats-officedocument.presentationml.tags+xml"/>
  <Override PartName="/ppt/tags/tag1732.xml" ContentType="application/vnd.openxmlformats-officedocument.presentationml.tags+xml"/>
  <Override PartName="/ppt/tags/tag1733.xml" ContentType="application/vnd.openxmlformats-officedocument.presentationml.tags+xml"/>
  <Override PartName="/ppt/tags/tag1734.xml" ContentType="application/vnd.openxmlformats-officedocument.presentationml.tags+xml"/>
  <Override PartName="/ppt/tags/tag1735.xml" ContentType="application/vnd.openxmlformats-officedocument.presentationml.tags+xml"/>
  <Override PartName="/ppt/tags/tag1736.xml" ContentType="application/vnd.openxmlformats-officedocument.presentationml.tags+xml"/>
  <Override PartName="/ppt/tags/tag1737.xml" ContentType="application/vnd.openxmlformats-officedocument.presentationml.tags+xml"/>
  <Override PartName="/ppt/tags/tag1738.xml" ContentType="application/vnd.openxmlformats-officedocument.presentationml.tags+xml"/>
  <Override PartName="/ppt/tags/tag1739.xml" ContentType="application/vnd.openxmlformats-officedocument.presentationml.tags+xml"/>
  <Override PartName="/ppt/tags/tag1740.xml" ContentType="application/vnd.openxmlformats-officedocument.presentationml.tags+xml"/>
  <Override PartName="/ppt/tags/tag1741.xml" ContentType="application/vnd.openxmlformats-officedocument.presentationml.tags+xml"/>
  <Override PartName="/ppt/tags/tag1742.xml" ContentType="application/vnd.openxmlformats-officedocument.presentationml.tags+xml"/>
  <Override PartName="/ppt/tags/tag1743.xml" ContentType="application/vnd.openxmlformats-officedocument.presentationml.tags+xml"/>
  <Override PartName="/ppt/tags/tag1744.xml" ContentType="application/vnd.openxmlformats-officedocument.presentationml.tags+xml"/>
  <Override PartName="/ppt/tags/tag1745.xml" ContentType="application/vnd.openxmlformats-officedocument.presentationml.tags+xml"/>
  <Override PartName="/ppt/tags/tag1746.xml" ContentType="application/vnd.openxmlformats-officedocument.presentationml.tags+xml"/>
  <Override PartName="/ppt/tags/tag1747.xml" ContentType="application/vnd.openxmlformats-officedocument.presentationml.tags+xml"/>
  <Override PartName="/ppt/tags/tag1748.xml" ContentType="application/vnd.openxmlformats-officedocument.presentationml.tags+xml"/>
  <Override PartName="/ppt/tags/tag1749.xml" ContentType="application/vnd.openxmlformats-officedocument.presentationml.tags+xml"/>
  <Override PartName="/ppt/tags/tag1750.xml" ContentType="application/vnd.openxmlformats-officedocument.presentationml.tags+xml"/>
  <Override PartName="/ppt/tags/tag1751.xml" ContentType="application/vnd.openxmlformats-officedocument.presentationml.tags+xml"/>
  <Override PartName="/ppt/tags/tag1752.xml" ContentType="application/vnd.openxmlformats-officedocument.presentationml.tags+xml"/>
  <Override PartName="/ppt/tags/tag1753.xml" ContentType="application/vnd.openxmlformats-officedocument.presentationml.tags+xml"/>
  <Override PartName="/ppt/tags/tag1754.xml" ContentType="application/vnd.openxmlformats-officedocument.presentationml.tags+xml"/>
  <Override PartName="/ppt/tags/tag1755.xml" ContentType="application/vnd.openxmlformats-officedocument.presentationml.tags+xml"/>
  <Override PartName="/ppt/tags/tag1756.xml" ContentType="application/vnd.openxmlformats-officedocument.presentationml.tags+xml"/>
  <Override PartName="/ppt/tags/tag1757.xml" ContentType="application/vnd.openxmlformats-officedocument.presentationml.tags+xml"/>
  <Override PartName="/ppt/tags/tag1758.xml" ContentType="application/vnd.openxmlformats-officedocument.presentationml.tags+xml"/>
  <Override PartName="/ppt/tags/tag1759.xml" ContentType="application/vnd.openxmlformats-officedocument.presentationml.tags+xml"/>
  <Override PartName="/ppt/tags/tag1760.xml" ContentType="application/vnd.openxmlformats-officedocument.presentationml.tags+xml"/>
  <Override PartName="/ppt/tags/tag1761.xml" ContentType="application/vnd.openxmlformats-officedocument.presentationml.tags+xml"/>
  <Override PartName="/ppt/tags/tag1762.xml" ContentType="application/vnd.openxmlformats-officedocument.presentationml.tags+xml"/>
  <Override PartName="/ppt/tags/tag1763.xml" ContentType="application/vnd.openxmlformats-officedocument.presentationml.tags+xml"/>
  <Override PartName="/ppt/tags/tag1764.xml" ContentType="application/vnd.openxmlformats-officedocument.presentationml.tags+xml"/>
  <Override PartName="/ppt/tags/tag1765.xml" ContentType="application/vnd.openxmlformats-officedocument.presentationml.tags+xml"/>
  <Override PartName="/ppt/tags/tag1766.xml" ContentType="application/vnd.openxmlformats-officedocument.presentationml.tags+xml"/>
  <Override PartName="/ppt/notesSlides/notesSlide24.xml" ContentType="application/vnd.openxmlformats-officedocument.presentationml.notesSlide+xml"/>
  <Override PartName="/ppt/charts/chart24.xml" ContentType="application/vnd.openxmlformats-officedocument.drawingml.chart+xml"/>
  <Override PartName="/ppt/tags/tag1767.xml" ContentType="application/vnd.openxmlformats-officedocument.presentationml.tags+xml"/>
  <Override PartName="/ppt/tags/tag1768.xml" ContentType="application/vnd.openxmlformats-officedocument.presentationml.tags+xml"/>
  <Override PartName="/ppt/tags/tag1769.xml" ContentType="application/vnd.openxmlformats-officedocument.presentationml.tags+xml"/>
  <Override PartName="/ppt/tags/tag1770.xml" ContentType="application/vnd.openxmlformats-officedocument.presentationml.tags+xml"/>
  <Override PartName="/ppt/tags/tag1771.xml" ContentType="application/vnd.openxmlformats-officedocument.presentationml.tags+xml"/>
  <Override PartName="/ppt/tags/tag1772.xml" ContentType="application/vnd.openxmlformats-officedocument.presentationml.tags+xml"/>
  <Override PartName="/ppt/tags/tag1773.xml" ContentType="application/vnd.openxmlformats-officedocument.presentationml.tags+xml"/>
  <Override PartName="/ppt/tags/tag1774.xml" ContentType="application/vnd.openxmlformats-officedocument.presentationml.tags+xml"/>
  <Override PartName="/ppt/tags/tag1775.xml" ContentType="application/vnd.openxmlformats-officedocument.presentationml.tags+xml"/>
  <Override PartName="/ppt/tags/tag1776.xml" ContentType="application/vnd.openxmlformats-officedocument.presentationml.tags+xml"/>
  <Override PartName="/ppt/tags/tag1777.xml" ContentType="application/vnd.openxmlformats-officedocument.presentationml.tags+xml"/>
  <Override PartName="/ppt/tags/tag1778.xml" ContentType="application/vnd.openxmlformats-officedocument.presentationml.tags+xml"/>
  <Override PartName="/ppt/tags/tag1779.xml" ContentType="application/vnd.openxmlformats-officedocument.presentationml.tags+xml"/>
  <Override PartName="/ppt/tags/tag1780.xml" ContentType="application/vnd.openxmlformats-officedocument.presentationml.tags+xml"/>
  <Override PartName="/ppt/tags/tag1781.xml" ContentType="application/vnd.openxmlformats-officedocument.presentationml.tags+xml"/>
  <Override PartName="/ppt/tags/tag1782.xml" ContentType="application/vnd.openxmlformats-officedocument.presentationml.tags+xml"/>
  <Override PartName="/ppt/tags/tag1783.xml" ContentType="application/vnd.openxmlformats-officedocument.presentationml.tags+xml"/>
  <Override PartName="/ppt/tags/tag1784.xml" ContentType="application/vnd.openxmlformats-officedocument.presentationml.tags+xml"/>
  <Override PartName="/ppt/tags/tag1785.xml" ContentType="application/vnd.openxmlformats-officedocument.presentationml.tags+xml"/>
  <Override PartName="/ppt/tags/tag1786.xml" ContentType="application/vnd.openxmlformats-officedocument.presentationml.tags+xml"/>
  <Override PartName="/ppt/tags/tag1787.xml" ContentType="application/vnd.openxmlformats-officedocument.presentationml.tags+xml"/>
  <Override PartName="/ppt/tags/tag1788.xml" ContentType="application/vnd.openxmlformats-officedocument.presentationml.tags+xml"/>
  <Override PartName="/ppt/tags/tag1789.xml" ContentType="application/vnd.openxmlformats-officedocument.presentationml.tags+xml"/>
  <Override PartName="/ppt/tags/tag1790.xml" ContentType="application/vnd.openxmlformats-officedocument.presentationml.tags+xml"/>
  <Override PartName="/ppt/tags/tag1791.xml" ContentType="application/vnd.openxmlformats-officedocument.presentationml.tags+xml"/>
  <Override PartName="/ppt/tags/tag1792.xml" ContentType="application/vnd.openxmlformats-officedocument.presentationml.tags+xml"/>
  <Override PartName="/ppt/tags/tag1793.xml" ContentType="application/vnd.openxmlformats-officedocument.presentationml.tags+xml"/>
  <Override PartName="/ppt/tags/tag1794.xml" ContentType="application/vnd.openxmlformats-officedocument.presentationml.tags+xml"/>
  <Override PartName="/ppt/tags/tag1795.xml" ContentType="application/vnd.openxmlformats-officedocument.presentationml.tags+xml"/>
  <Override PartName="/ppt/tags/tag1796.xml" ContentType="application/vnd.openxmlformats-officedocument.presentationml.tags+xml"/>
  <Override PartName="/ppt/tags/tag1797.xml" ContentType="application/vnd.openxmlformats-officedocument.presentationml.tags+xml"/>
  <Override PartName="/ppt/tags/tag1798.xml" ContentType="application/vnd.openxmlformats-officedocument.presentationml.tags+xml"/>
  <Override PartName="/ppt/tags/tag1799.xml" ContentType="application/vnd.openxmlformats-officedocument.presentationml.tags+xml"/>
  <Override PartName="/ppt/tags/tag1800.xml" ContentType="application/vnd.openxmlformats-officedocument.presentationml.tags+xml"/>
  <Override PartName="/ppt/tags/tag1801.xml" ContentType="application/vnd.openxmlformats-officedocument.presentationml.tags+xml"/>
  <Override PartName="/ppt/tags/tag1802.xml" ContentType="application/vnd.openxmlformats-officedocument.presentationml.tags+xml"/>
  <Override PartName="/ppt/tags/tag1803.xml" ContentType="application/vnd.openxmlformats-officedocument.presentationml.tags+xml"/>
  <Override PartName="/ppt/tags/tag1804.xml" ContentType="application/vnd.openxmlformats-officedocument.presentationml.tags+xml"/>
  <Override PartName="/ppt/tags/tag1805.xml" ContentType="application/vnd.openxmlformats-officedocument.presentationml.tags+xml"/>
  <Override PartName="/ppt/tags/tag1806.xml" ContentType="application/vnd.openxmlformats-officedocument.presentationml.tags+xml"/>
  <Override PartName="/ppt/tags/tag1807.xml" ContentType="application/vnd.openxmlformats-officedocument.presentationml.tags+xml"/>
  <Override PartName="/ppt/tags/tag1808.xml" ContentType="application/vnd.openxmlformats-officedocument.presentationml.tags+xml"/>
  <Override PartName="/ppt/tags/tag1809.xml" ContentType="application/vnd.openxmlformats-officedocument.presentationml.tags+xml"/>
  <Override PartName="/ppt/tags/tag1810.xml" ContentType="application/vnd.openxmlformats-officedocument.presentationml.tags+xml"/>
  <Override PartName="/ppt/tags/tag1811.xml" ContentType="application/vnd.openxmlformats-officedocument.presentationml.tags+xml"/>
  <Override PartName="/ppt/tags/tag1812.xml" ContentType="application/vnd.openxmlformats-officedocument.presentationml.tags+xml"/>
  <Override PartName="/ppt/tags/tag1813.xml" ContentType="application/vnd.openxmlformats-officedocument.presentationml.tags+xml"/>
  <Override PartName="/ppt/tags/tag1814.xml" ContentType="application/vnd.openxmlformats-officedocument.presentationml.tags+xml"/>
  <Override PartName="/ppt/tags/tag1815.xml" ContentType="application/vnd.openxmlformats-officedocument.presentationml.tags+xml"/>
  <Override PartName="/ppt/tags/tag1816.xml" ContentType="application/vnd.openxmlformats-officedocument.presentationml.tags+xml"/>
  <Override PartName="/ppt/tags/tag1817.xml" ContentType="application/vnd.openxmlformats-officedocument.presentationml.tags+xml"/>
  <Override PartName="/ppt/tags/tag1818.xml" ContentType="application/vnd.openxmlformats-officedocument.presentationml.tags+xml"/>
  <Override PartName="/ppt/tags/tag1819.xml" ContentType="application/vnd.openxmlformats-officedocument.presentationml.tags+xml"/>
  <Override PartName="/ppt/tags/tag1820.xml" ContentType="application/vnd.openxmlformats-officedocument.presentationml.tags+xml"/>
  <Override PartName="/ppt/tags/tag1821.xml" ContentType="application/vnd.openxmlformats-officedocument.presentationml.tags+xml"/>
  <Override PartName="/ppt/tags/tag1822.xml" ContentType="application/vnd.openxmlformats-officedocument.presentationml.tags+xml"/>
  <Override PartName="/ppt/tags/tag1823.xml" ContentType="application/vnd.openxmlformats-officedocument.presentationml.tags+xml"/>
  <Override PartName="/ppt/tags/tag1824.xml" ContentType="application/vnd.openxmlformats-officedocument.presentationml.tags+xml"/>
  <Override PartName="/ppt/tags/tag1825.xml" ContentType="application/vnd.openxmlformats-officedocument.presentationml.tags+xml"/>
  <Override PartName="/ppt/tags/tag1826.xml" ContentType="application/vnd.openxmlformats-officedocument.presentationml.tags+xml"/>
  <Override PartName="/ppt/tags/tag1827.xml" ContentType="application/vnd.openxmlformats-officedocument.presentationml.tags+xml"/>
  <Override PartName="/ppt/tags/tag1828.xml" ContentType="application/vnd.openxmlformats-officedocument.presentationml.tags+xml"/>
  <Override PartName="/ppt/tags/tag1829.xml" ContentType="application/vnd.openxmlformats-officedocument.presentationml.tags+xml"/>
  <Override PartName="/ppt/tags/tag1830.xml" ContentType="application/vnd.openxmlformats-officedocument.presentationml.tags+xml"/>
  <Override PartName="/ppt/tags/tag1831.xml" ContentType="application/vnd.openxmlformats-officedocument.presentationml.tags+xml"/>
  <Override PartName="/ppt/tags/tag1832.xml" ContentType="application/vnd.openxmlformats-officedocument.presentationml.tags+xml"/>
  <Override PartName="/ppt/tags/tag1833.xml" ContentType="application/vnd.openxmlformats-officedocument.presentationml.tags+xml"/>
  <Override PartName="/ppt/tags/tag1834.xml" ContentType="application/vnd.openxmlformats-officedocument.presentationml.tags+xml"/>
  <Override PartName="/ppt/tags/tag1835.xml" ContentType="application/vnd.openxmlformats-officedocument.presentationml.tags+xml"/>
  <Override PartName="/ppt/tags/tag1836.xml" ContentType="application/vnd.openxmlformats-officedocument.presentationml.tags+xml"/>
  <Override PartName="/ppt/tags/tag1837.xml" ContentType="application/vnd.openxmlformats-officedocument.presentationml.tags+xml"/>
  <Override PartName="/ppt/tags/tag1838.xml" ContentType="application/vnd.openxmlformats-officedocument.presentationml.tags+xml"/>
  <Override PartName="/ppt/tags/tag1839.xml" ContentType="application/vnd.openxmlformats-officedocument.presentationml.tags+xml"/>
  <Override PartName="/ppt/tags/tag1840.xml" ContentType="application/vnd.openxmlformats-officedocument.presentationml.tags+xml"/>
  <Override PartName="/ppt/tags/tag1841.xml" ContentType="application/vnd.openxmlformats-officedocument.presentationml.tags+xml"/>
  <Override PartName="/ppt/tags/tag1842.xml" ContentType="application/vnd.openxmlformats-officedocument.presentationml.tags+xml"/>
  <Override PartName="/ppt/tags/tag1843.xml" ContentType="application/vnd.openxmlformats-officedocument.presentationml.tags+xml"/>
  <Override PartName="/ppt/tags/tag1844.xml" ContentType="application/vnd.openxmlformats-officedocument.presentationml.tags+xml"/>
  <Override PartName="/ppt/tags/tag1845.xml" ContentType="application/vnd.openxmlformats-officedocument.presentationml.tags+xml"/>
  <Override PartName="/ppt/tags/tag1846.xml" ContentType="application/vnd.openxmlformats-officedocument.presentationml.tags+xml"/>
  <Override PartName="/ppt/tags/tag1847.xml" ContentType="application/vnd.openxmlformats-officedocument.presentationml.tags+xml"/>
  <Override PartName="/ppt/tags/tag1848.xml" ContentType="application/vnd.openxmlformats-officedocument.presentationml.tags+xml"/>
  <Override PartName="/ppt/tags/tag1849.xml" ContentType="application/vnd.openxmlformats-officedocument.presentationml.tags+xml"/>
  <Override PartName="/ppt/tags/tag1850.xml" ContentType="application/vnd.openxmlformats-officedocument.presentationml.tags+xml"/>
  <Override PartName="/ppt/tags/tag1851.xml" ContentType="application/vnd.openxmlformats-officedocument.presentationml.tags+xml"/>
  <Override PartName="/ppt/tags/tag1852.xml" ContentType="application/vnd.openxmlformats-officedocument.presentationml.tags+xml"/>
  <Override PartName="/ppt/tags/tag1853.xml" ContentType="application/vnd.openxmlformats-officedocument.presentationml.tags+xml"/>
  <Override PartName="/ppt/tags/tag1854.xml" ContentType="application/vnd.openxmlformats-officedocument.presentationml.tags+xml"/>
  <Override PartName="/ppt/tags/tag1855.xml" ContentType="application/vnd.openxmlformats-officedocument.presentationml.tags+xml"/>
  <Override PartName="/ppt/tags/tag1856.xml" ContentType="application/vnd.openxmlformats-officedocument.presentationml.tags+xml"/>
  <Override PartName="/ppt/tags/tag1857.xml" ContentType="application/vnd.openxmlformats-officedocument.presentationml.tags+xml"/>
  <Override PartName="/ppt/tags/tag1858.xml" ContentType="application/vnd.openxmlformats-officedocument.presentationml.tags+xml"/>
  <Override PartName="/ppt/tags/tag1859.xml" ContentType="application/vnd.openxmlformats-officedocument.presentationml.tags+xml"/>
  <Override PartName="/ppt/tags/tag1860.xml" ContentType="application/vnd.openxmlformats-officedocument.presentationml.tags+xml"/>
  <Override PartName="/ppt/tags/tag1861.xml" ContentType="application/vnd.openxmlformats-officedocument.presentationml.tags+xml"/>
  <Override PartName="/ppt/notesSlides/notesSlide25.xml" ContentType="application/vnd.openxmlformats-officedocument.presentationml.notesSlide+xml"/>
  <Override PartName="/ppt/charts/chart25.xml" ContentType="application/vnd.openxmlformats-officedocument.drawingml.chart+xml"/>
  <Override PartName="/ppt/tags/tag1862.xml" ContentType="application/vnd.openxmlformats-officedocument.presentationml.tags+xml"/>
  <Override PartName="/ppt/tags/tag1863.xml" ContentType="application/vnd.openxmlformats-officedocument.presentationml.tags+xml"/>
  <Override PartName="/ppt/tags/tag1864.xml" ContentType="application/vnd.openxmlformats-officedocument.presentationml.tags+xml"/>
  <Override PartName="/ppt/tags/tag1865.xml" ContentType="application/vnd.openxmlformats-officedocument.presentationml.tags+xml"/>
  <Override PartName="/ppt/tags/tag1866.xml" ContentType="application/vnd.openxmlformats-officedocument.presentationml.tags+xml"/>
  <Override PartName="/ppt/tags/tag1867.xml" ContentType="application/vnd.openxmlformats-officedocument.presentationml.tags+xml"/>
  <Override PartName="/ppt/tags/tag1868.xml" ContentType="application/vnd.openxmlformats-officedocument.presentationml.tags+xml"/>
  <Override PartName="/ppt/tags/tag1869.xml" ContentType="application/vnd.openxmlformats-officedocument.presentationml.tags+xml"/>
  <Override PartName="/ppt/tags/tag1870.xml" ContentType="application/vnd.openxmlformats-officedocument.presentationml.tags+xml"/>
  <Override PartName="/ppt/tags/tag1871.xml" ContentType="application/vnd.openxmlformats-officedocument.presentationml.tags+xml"/>
  <Override PartName="/ppt/tags/tag1872.xml" ContentType="application/vnd.openxmlformats-officedocument.presentationml.tags+xml"/>
  <Override PartName="/ppt/tags/tag1873.xml" ContentType="application/vnd.openxmlformats-officedocument.presentationml.tags+xml"/>
  <Override PartName="/ppt/tags/tag1874.xml" ContentType="application/vnd.openxmlformats-officedocument.presentationml.tags+xml"/>
  <Override PartName="/ppt/tags/tag1875.xml" ContentType="application/vnd.openxmlformats-officedocument.presentationml.tags+xml"/>
  <Override PartName="/ppt/tags/tag1876.xml" ContentType="application/vnd.openxmlformats-officedocument.presentationml.tags+xml"/>
  <Override PartName="/ppt/tags/tag1877.xml" ContentType="application/vnd.openxmlformats-officedocument.presentationml.tags+xml"/>
  <Override PartName="/ppt/tags/tag1878.xml" ContentType="application/vnd.openxmlformats-officedocument.presentationml.tags+xml"/>
  <Override PartName="/ppt/tags/tag1879.xml" ContentType="application/vnd.openxmlformats-officedocument.presentationml.tags+xml"/>
  <Override PartName="/ppt/tags/tag1880.xml" ContentType="application/vnd.openxmlformats-officedocument.presentationml.tags+xml"/>
  <Override PartName="/ppt/tags/tag1881.xml" ContentType="application/vnd.openxmlformats-officedocument.presentationml.tags+xml"/>
  <Override PartName="/ppt/tags/tag1882.xml" ContentType="application/vnd.openxmlformats-officedocument.presentationml.tags+xml"/>
  <Override PartName="/ppt/tags/tag1883.xml" ContentType="application/vnd.openxmlformats-officedocument.presentationml.tags+xml"/>
  <Override PartName="/ppt/tags/tag1884.xml" ContentType="application/vnd.openxmlformats-officedocument.presentationml.tags+xml"/>
  <Override PartName="/ppt/tags/tag1885.xml" ContentType="application/vnd.openxmlformats-officedocument.presentationml.tags+xml"/>
  <Override PartName="/ppt/tags/tag1886.xml" ContentType="application/vnd.openxmlformats-officedocument.presentationml.tags+xml"/>
  <Override PartName="/ppt/tags/tag1887.xml" ContentType="application/vnd.openxmlformats-officedocument.presentationml.tags+xml"/>
  <Override PartName="/ppt/tags/tag1888.xml" ContentType="application/vnd.openxmlformats-officedocument.presentationml.tags+xml"/>
  <Override PartName="/ppt/tags/tag1889.xml" ContentType="application/vnd.openxmlformats-officedocument.presentationml.tags+xml"/>
  <Override PartName="/ppt/tags/tag1890.xml" ContentType="application/vnd.openxmlformats-officedocument.presentationml.tags+xml"/>
  <Override PartName="/ppt/tags/tag1891.xml" ContentType="application/vnd.openxmlformats-officedocument.presentationml.tags+xml"/>
  <Override PartName="/ppt/tags/tag1892.xml" ContentType="application/vnd.openxmlformats-officedocument.presentationml.tags+xml"/>
  <Override PartName="/ppt/tags/tag1893.xml" ContentType="application/vnd.openxmlformats-officedocument.presentationml.tags+xml"/>
  <Override PartName="/ppt/tags/tag1894.xml" ContentType="application/vnd.openxmlformats-officedocument.presentationml.tags+xml"/>
  <Override PartName="/ppt/tags/tag1895.xml" ContentType="application/vnd.openxmlformats-officedocument.presentationml.tags+xml"/>
  <Override PartName="/ppt/tags/tag1896.xml" ContentType="application/vnd.openxmlformats-officedocument.presentationml.tags+xml"/>
  <Override PartName="/ppt/tags/tag1897.xml" ContentType="application/vnd.openxmlformats-officedocument.presentationml.tags+xml"/>
  <Override PartName="/ppt/tags/tag1898.xml" ContentType="application/vnd.openxmlformats-officedocument.presentationml.tags+xml"/>
  <Override PartName="/ppt/tags/tag1899.xml" ContentType="application/vnd.openxmlformats-officedocument.presentationml.tags+xml"/>
  <Override PartName="/ppt/tags/tag1900.xml" ContentType="application/vnd.openxmlformats-officedocument.presentationml.tags+xml"/>
  <Override PartName="/ppt/tags/tag1901.xml" ContentType="application/vnd.openxmlformats-officedocument.presentationml.tags+xml"/>
  <Override PartName="/ppt/tags/tag1902.xml" ContentType="application/vnd.openxmlformats-officedocument.presentationml.tags+xml"/>
  <Override PartName="/ppt/tags/tag1903.xml" ContentType="application/vnd.openxmlformats-officedocument.presentationml.tags+xml"/>
  <Override PartName="/ppt/tags/tag1904.xml" ContentType="application/vnd.openxmlformats-officedocument.presentationml.tags+xml"/>
  <Override PartName="/ppt/tags/tag1905.xml" ContentType="application/vnd.openxmlformats-officedocument.presentationml.tags+xml"/>
  <Override PartName="/ppt/tags/tag1906.xml" ContentType="application/vnd.openxmlformats-officedocument.presentationml.tags+xml"/>
  <Override PartName="/ppt/tags/tag1907.xml" ContentType="application/vnd.openxmlformats-officedocument.presentationml.tags+xml"/>
  <Override PartName="/ppt/tags/tag1908.xml" ContentType="application/vnd.openxmlformats-officedocument.presentationml.tags+xml"/>
  <Override PartName="/ppt/tags/tag1909.xml" ContentType="application/vnd.openxmlformats-officedocument.presentationml.tags+xml"/>
  <Override PartName="/ppt/tags/tag1910.xml" ContentType="application/vnd.openxmlformats-officedocument.presentationml.tags+xml"/>
  <Override PartName="/ppt/tags/tag1911.xml" ContentType="application/vnd.openxmlformats-officedocument.presentationml.tags+xml"/>
  <Override PartName="/ppt/tags/tag1912.xml" ContentType="application/vnd.openxmlformats-officedocument.presentationml.tags+xml"/>
  <Override PartName="/ppt/tags/tag1913.xml" ContentType="application/vnd.openxmlformats-officedocument.presentationml.tags+xml"/>
  <Override PartName="/ppt/tags/tag1914.xml" ContentType="application/vnd.openxmlformats-officedocument.presentationml.tags+xml"/>
  <Override PartName="/ppt/tags/tag1915.xml" ContentType="application/vnd.openxmlformats-officedocument.presentationml.tags+xml"/>
  <Override PartName="/ppt/tags/tag1916.xml" ContentType="application/vnd.openxmlformats-officedocument.presentationml.tags+xml"/>
  <Override PartName="/ppt/tags/tag1917.xml" ContentType="application/vnd.openxmlformats-officedocument.presentationml.tags+xml"/>
  <Override PartName="/ppt/tags/tag1918.xml" ContentType="application/vnd.openxmlformats-officedocument.presentationml.tags+xml"/>
  <Override PartName="/ppt/tags/tag1919.xml" ContentType="application/vnd.openxmlformats-officedocument.presentationml.tags+xml"/>
  <Override PartName="/ppt/tags/tag1920.xml" ContentType="application/vnd.openxmlformats-officedocument.presentationml.tags+xml"/>
  <Override PartName="/ppt/tags/tag1921.xml" ContentType="application/vnd.openxmlformats-officedocument.presentationml.tags+xml"/>
  <Override PartName="/ppt/tags/tag1922.xml" ContentType="application/vnd.openxmlformats-officedocument.presentationml.tags+xml"/>
  <Override PartName="/ppt/tags/tag1923.xml" ContentType="application/vnd.openxmlformats-officedocument.presentationml.tags+xml"/>
  <Override PartName="/ppt/tags/tag1924.xml" ContentType="application/vnd.openxmlformats-officedocument.presentationml.tags+xml"/>
  <Override PartName="/ppt/tags/tag1925.xml" ContentType="application/vnd.openxmlformats-officedocument.presentationml.tags+xml"/>
  <Override PartName="/ppt/tags/tag1926.xml" ContentType="application/vnd.openxmlformats-officedocument.presentationml.tags+xml"/>
  <Override PartName="/ppt/tags/tag1927.xml" ContentType="application/vnd.openxmlformats-officedocument.presentationml.tags+xml"/>
  <Override PartName="/ppt/tags/tag1928.xml" ContentType="application/vnd.openxmlformats-officedocument.presentationml.tags+xml"/>
  <Override PartName="/ppt/tags/tag1929.xml" ContentType="application/vnd.openxmlformats-officedocument.presentationml.tags+xml"/>
  <Override PartName="/ppt/tags/tag1930.xml" ContentType="application/vnd.openxmlformats-officedocument.presentationml.tags+xml"/>
  <Override PartName="/ppt/tags/tag1931.xml" ContentType="application/vnd.openxmlformats-officedocument.presentationml.tags+xml"/>
  <Override PartName="/ppt/tags/tag1932.xml" ContentType="application/vnd.openxmlformats-officedocument.presentationml.tags+xml"/>
  <Override PartName="/ppt/tags/tag1933.xml" ContentType="application/vnd.openxmlformats-officedocument.presentationml.tags+xml"/>
  <Override PartName="/ppt/tags/tag1934.xml" ContentType="application/vnd.openxmlformats-officedocument.presentationml.tags+xml"/>
  <Override PartName="/ppt/tags/tag1935.xml" ContentType="application/vnd.openxmlformats-officedocument.presentationml.tags+xml"/>
  <Override PartName="/ppt/tags/tag1936.xml" ContentType="application/vnd.openxmlformats-officedocument.presentationml.tags+xml"/>
  <Override PartName="/ppt/tags/tag1937.xml" ContentType="application/vnd.openxmlformats-officedocument.presentationml.tags+xml"/>
  <Override PartName="/ppt/tags/tag1938.xml" ContentType="application/vnd.openxmlformats-officedocument.presentationml.tags+xml"/>
  <Override PartName="/ppt/tags/tag1939.xml" ContentType="application/vnd.openxmlformats-officedocument.presentationml.tags+xml"/>
  <Override PartName="/ppt/tags/tag1940.xml" ContentType="application/vnd.openxmlformats-officedocument.presentationml.tags+xml"/>
  <Override PartName="/ppt/tags/tag1941.xml" ContentType="application/vnd.openxmlformats-officedocument.presentationml.tags+xml"/>
  <Override PartName="/ppt/tags/tag1942.xml" ContentType="application/vnd.openxmlformats-officedocument.presentationml.tags+xml"/>
  <Override PartName="/ppt/tags/tag1943.xml" ContentType="application/vnd.openxmlformats-officedocument.presentationml.tags+xml"/>
  <Override PartName="/ppt/tags/tag1944.xml" ContentType="application/vnd.openxmlformats-officedocument.presentationml.tags+xml"/>
  <Override PartName="/ppt/tags/tag1945.xml" ContentType="application/vnd.openxmlformats-officedocument.presentationml.tags+xml"/>
  <Override PartName="/ppt/tags/tag1946.xml" ContentType="application/vnd.openxmlformats-officedocument.presentationml.tags+xml"/>
  <Override PartName="/ppt/tags/tag1947.xml" ContentType="application/vnd.openxmlformats-officedocument.presentationml.tags+xml"/>
  <Override PartName="/ppt/tags/tag1948.xml" ContentType="application/vnd.openxmlformats-officedocument.presentationml.tags+xml"/>
  <Override PartName="/ppt/tags/tag1949.xml" ContentType="application/vnd.openxmlformats-officedocument.presentationml.tags+xml"/>
  <Override PartName="/ppt/tags/tag1950.xml" ContentType="application/vnd.openxmlformats-officedocument.presentationml.tags+xml"/>
  <Override PartName="/ppt/tags/tag1951.xml" ContentType="application/vnd.openxmlformats-officedocument.presentationml.tags+xml"/>
  <Override PartName="/ppt/tags/tag1952.xml" ContentType="application/vnd.openxmlformats-officedocument.presentationml.tags+xml"/>
  <Override PartName="/ppt/tags/tag1953.xml" ContentType="application/vnd.openxmlformats-officedocument.presentationml.tags+xml"/>
  <Override PartName="/ppt/tags/tag1954.xml" ContentType="application/vnd.openxmlformats-officedocument.presentationml.tags+xml"/>
  <Override PartName="/ppt/tags/tag1955.xml" ContentType="application/vnd.openxmlformats-officedocument.presentationml.tags+xml"/>
  <Override PartName="/ppt/tags/tag1956.xml" ContentType="application/vnd.openxmlformats-officedocument.presentationml.tags+xml"/>
  <Override PartName="/ppt/tags/tag1957.xml" ContentType="application/vnd.openxmlformats-officedocument.presentationml.tags+xml"/>
  <Override PartName="/ppt/tags/tag1958.xml" ContentType="application/vnd.openxmlformats-officedocument.presentationml.tags+xml"/>
  <Override PartName="/ppt/tags/tag1959.xml" ContentType="application/vnd.openxmlformats-officedocument.presentationml.tags+xml"/>
  <Override PartName="/ppt/tags/tag1960.xml" ContentType="application/vnd.openxmlformats-officedocument.presentationml.tags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tags/tag1961.xml" ContentType="application/vnd.openxmlformats-officedocument.presentationml.tags+xml"/>
  <Override PartName="/ppt/tags/tag1962.xml" ContentType="application/vnd.openxmlformats-officedocument.presentationml.tags+xml"/>
  <Override PartName="/ppt/tags/tag1963.xml" ContentType="application/vnd.openxmlformats-officedocument.presentationml.tags+xml"/>
  <Override PartName="/ppt/tags/tag1964.xml" ContentType="application/vnd.openxmlformats-officedocument.presentationml.tags+xml"/>
  <Override PartName="/ppt/tags/tag1965.xml" ContentType="application/vnd.openxmlformats-officedocument.presentationml.tags+xml"/>
  <Override PartName="/ppt/tags/tag1966.xml" ContentType="application/vnd.openxmlformats-officedocument.presentationml.tags+xml"/>
  <Override PartName="/ppt/tags/tag1967.xml" ContentType="application/vnd.openxmlformats-officedocument.presentationml.tags+xml"/>
  <Override PartName="/ppt/tags/tag1968.xml" ContentType="application/vnd.openxmlformats-officedocument.presentationml.tags+xml"/>
  <Override PartName="/ppt/tags/tag1969.xml" ContentType="application/vnd.openxmlformats-officedocument.presentationml.tags+xml"/>
  <Override PartName="/ppt/tags/tag1970.xml" ContentType="application/vnd.openxmlformats-officedocument.presentationml.tags+xml"/>
  <Override PartName="/ppt/tags/tag1971.xml" ContentType="application/vnd.openxmlformats-officedocument.presentationml.tags+xml"/>
  <Override PartName="/ppt/tags/tag1972.xml" ContentType="application/vnd.openxmlformats-officedocument.presentationml.tags+xml"/>
  <Override PartName="/ppt/tags/tag1973.xml" ContentType="application/vnd.openxmlformats-officedocument.presentationml.tags+xml"/>
  <Override PartName="/ppt/tags/tag1974.xml" ContentType="application/vnd.openxmlformats-officedocument.presentationml.tags+xml"/>
  <Override PartName="/ppt/tags/tag1975.xml" ContentType="application/vnd.openxmlformats-officedocument.presentationml.tags+xml"/>
  <Override PartName="/ppt/tags/tag1976.xml" ContentType="application/vnd.openxmlformats-officedocument.presentationml.tags+xml"/>
  <Override PartName="/ppt/tags/tag1977.xml" ContentType="application/vnd.openxmlformats-officedocument.presentationml.tags+xml"/>
  <Override PartName="/ppt/tags/tag1978.xml" ContentType="application/vnd.openxmlformats-officedocument.presentationml.tags+xml"/>
  <Override PartName="/ppt/tags/tag1979.xml" ContentType="application/vnd.openxmlformats-officedocument.presentationml.tags+xml"/>
  <Override PartName="/ppt/tags/tag1980.xml" ContentType="application/vnd.openxmlformats-officedocument.presentationml.tags+xml"/>
  <Override PartName="/ppt/tags/tag1981.xml" ContentType="application/vnd.openxmlformats-officedocument.presentationml.tags+xml"/>
  <Override PartName="/ppt/tags/tag1982.xml" ContentType="application/vnd.openxmlformats-officedocument.presentationml.tags+xml"/>
  <Override PartName="/ppt/tags/tag1983.xml" ContentType="application/vnd.openxmlformats-officedocument.presentationml.tags+xml"/>
  <Override PartName="/ppt/tags/tag1984.xml" ContentType="application/vnd.openxmlformats-officedocument.presentationml.tags+xml"/>
  <Override PartName="/ppt/tags/tag1985.xml" ContentType="application/vnd.openxmlformats-officedocument.presentationml.tags+xml"/>
  <Override PartName="/ppt/tags/tag1986.xml" ContentType="application/vnd.openxmlformats-officedocument.presentationml.tags+xml"/>
  <Override PartName="/ppt/tags/tag1987.xml" ContentType="application/vnd.openxmlformats-officedocument.presentationml.tags+xml"/>
  <Override PartName="/ppt/tags/tag1988.xml" ContentType="application/vnd.openxmlformats-officedocument.presentationml.tags+xml"/>
  <Override PartName="/ppt/tags/tag1989.xml" ContentType="application/vnd.openxmlformats-officedocument.presentationml.tags+xml"/>
  <Override PartName="/ppt/tags/tag1990.xml" ContentType="application/vnd.openxmlformats-officedocument.presentationml.tags+xml"/>
  <Override PartName="/ppt/tags/tag1991.xml" ContentType="application/vnd.openxmlformats-officedocument.presentationml.tags+xml"/>
  <Override PartName="/ppt/tags/tag1992.xml" ContentType="application/vnd.openxmlformats-officedocument.presentationml.tags+xml"/>
  <Override PartName="/ppt/tags/tag1993.xml" ContentType="application/vnd.openxmlformats-officedocument.presentationml.tags+xml"/>
  <Override PartName="/ppt/tags/tag1994.xml" ContentType="application/vnd.openxmlformats-officedocument.presentationml.tags+xml"/>
  <Override PartName="/ppt/tags/tag1995.xml" ContentType="application/vnd.openxmlformats-officedocument.presentationml.tags+xml"/>
  <Override PartName="/ppt/tags/tag1996.xml" ContentType="application/vnd.openxmlformats-officedocument.presentationml.tags+xml"/>
  <Override PartName="/ppt/tags/tag1997.xml" ContentType="application/vnd.openxmlformats-officedocument.presentationml.tags+xml"/>
  <Override PartName="/ppt/tags/tag1998.xml" ContentType="application/vnd.openxmlformats-officedocument.presentationml.tags+xml"/>
  <Override PartName="/ppt/tags/tag1999.xml" ContentType="application/vnd.openxmlformats-officedocument.presentationml.tags+xml"/>
  <Override PartName="/ppt/tags/tag2000.xml" ContentType="application/vnd.openxmlformats-officedocument.presentationml.tags+xml"/>
  <Override PartName="/ppt/tags/tag2001.xml" ContentType="application/vnd.openxmlformats-officedocument.presentationml.tags+xml"/>
  <Override PartName="/ppt/tags/tag2002.xml" ContentType="application/vnd.openxmlformats-officedocument.presentationml.tags+xml"/>
  <Override PartName="/ppt/tags/tag2003.xml" ContentType="application/vnd.openxmlformats-officedocument.presentationml.tags+xml"/>
  <Override PartName="/ppt/tags/tag2004.xml" ContentType="application/vnd.openxmlformats-officedocument.presentationml.tags+xml"/>
  <Override PartName="/ppt/tags/tag2005.xml" ContentType="application/vnd.openxmlformats-officedocument.presentationml.tags+xml"/>
  <Override PartName="/ppt/tags/tag2006.xml" ContentType="application/vnd.openxmlformats-officedocument.presentationml.tags+xml"/>
  <Override PartName="/ppt/tags/tag2007.xml" ContentType="application/vnd.openxmlformats-officedocument.presentationml.tags+xml"/>
  <Override PartName="/ppt/tags/tag2008.xml" ContentType="application/vnd.openxmlformats-officedocument.presentationml.tags+xml"/>
  <Override PartName="/ppt/tags/tag2009.xml" ContentType="application/vnd.openxmlformats-officedocument.presentationml.tags+xml"/>
  <Override PartName="/ppt/tags/tag2010.xml" ContentType="application/vnd.openxmlformats-officedocument.presentationml.tags+xml"/>
  <Override PartName="/ppt/tags/tag2011.xml" ContentType="application/vnd.openxmlformats-officedocument.presentationml.tags+xml"/>
  <Override PartName="/ppt/tags/tag2012.xml" ContentType="application/vnd.openxmlformats-officedocument.presentationml.tags+xml"/>
  <Override PartName="/ppt/tags/tag2013.xml" ContentType="application/vnd.openxmlformats-officedocument.presentationml.tags+xml"/>
  <Override PartName="/ppt/tags/tag2014.xml" ContentType="application/vnd.openxmlformats-officedocument.presentationml.tags+xml"/>
  <Override PartName="/ppt/tags/tag2015.xml" ContentType="application/vnd.openxmlformats-officedocument.presentationml.tags+xml"/>
  <Override PartName="/ppt/tags/tag2016.xml" ContentType="application/vnd.openxmlformats-officedocument.presentationml.tags+xml"/>
  <Override PartName="/ppt/tags/tag2017.xml" ContentType="application/vnd.openxmlformats-officedocument.presentationml.tags+xml"/>
  <Override PartName="/ppt/tags/tag2018.xml" ContentType="application/vnd.openxmlformats-officedocument.presentationml.tags+xml"/>
  <Override PartName="/ppt/tags/tag2019.xml" ContentType="application/vnd.openxmlformats-officedocument.presentationml.tags+xml"/>
  <Override PartName="/ppt/tags/tag2020.xml" ContentType="application/vnd.openxmlformats-officedocument.presentationml.tags+xml"/>
  <Override PartName="/ppt/tags/tag2021.xml" ContentType="application/vnd.openxmlformats-officedocument.presentationml.tags+xml"/>
  <Override PartName="/ppt/tags/tag2022.xml" ContentType="application/vnd.openxmlformats-officedocument.presentationml.tags+xml"/>
  <Override PartName="/ppt/tags/tag2023.xml" ContentType="application/vnd.openxmlformats-officedocument.presentationml.tags+xml"/>
  <Override PartName="/ppt/tags/tag2024.xml" ContentType="application/vnd.openxmlformats-officedocument.presentationml.tags+xml"/>
  <Override PartName="/ppt/tags/tag2025.xml" ContentType="application/vnd.openxmlformats-officedocument.presentationml.tags+xml"/>
  <Override PartName="/ppt/tags/tag2026.xml" ContentType="application/vnd.openxmlformats-officedocument.presentationml.tags+xml"/>
  <Override PartName="/ppt/tags/tag2027.xml" ContentType="application/vnd.openxmlformats-officedocument.presentationml.tags+xml"/>
  <Override PartName="/ppt/tags/tag2028.xml" ContentType="application/vnd.openxmlformats-officedocument.presentationml.tags+xml"/>
  <Override PartName="/ppt/tags/tag2029.xml" ContentType="application/vnd.openxmlformats-officedocument.presentationml.tags+xml"/>
  <Override PartName="/ppt/tags/tag2030.xml" ContentType="application/vnd.openxmlformats-officedocument.presentationml.tags+xml"/>
  <Override PartName="/ppt/tags/tag2031.xml" ContentType="application/vnd.openxmlformats-officedocument.presentationml.tags+xml"/>
  <Override PartName="/ppt/tags/tag2032.xml" ContentType="application/vnd.openxmlformats-officedocument.presentationml.tags+xml"/>
  <Override PartName="/ppt/tags/tag2033.xml" ContentType="application/vnd.openxmlformats-officedocument.presentationml.tags+xml"/>
  <Override PartName="/ppt/tags/tag2034.xml" ContentType="application/vnd.openxmlformats-officedocument.presentationml.tags+xml"/>
  <Override PartName="/ppt/tags/tag2035.xml" ContentType="application/vnd.openxmlformats-officedocument.presentationml.tags+xml"/>
  <Override PartName="/ppt/tags/tag2036.xml" ContentType="application/vnd.openxmlformats-officedocument.presentationml.tags+xml"/>
  <Override PartName="/ppt/tags/tag2037.xml" ContentType="application/vnd.openxmlformats-officedocument.presentationml.tags+xml"/>
  <Override PartName="/ppt/tags/tag2038.xml" ContentType="application/vnd.openxmlformats-officedocument.presentationml.tags+xml"/>
  <Override PartName="/ppt/tags/tag2039.xml" ContentType="application/vnd.openxmlformats-officedocument.presentationml.tags+xml"/>
  <Override PartName="/ppt/tags/tag2040.xml" ContentType="application/vnd.openxmlformats-officedocument.presentationml.tags+xml"/>
  <Override PartName="/ppt/tags/tag2041.xml" ContentType="application/vnd.openxmlformats-officedocument.presentationml.tags+xml"/>
  <Override PartName="/ppt/tags/tag2042.xml" ContentType="application/vnd.openxmlformats-officedocument.presentationml.tags+xml"/>
  <Override PartName="/ppt/tags/tag2043.xml" ContentType="application/vnd.openxmlformats-officedocument.presentationml.tags+xml"/>
  <Override PartName="/ppt/tags/tag2044.xml" ContentType="application/vnd.openxmlformats-officedocument.presentationml.tags+xml"/>
  <Override PartName="/ppt/tags/tag2045.xml" ContentType="application/vnd.openxmlformats-officedocument.presentationml.tags+xml"/>
  <Override PartName="/ppt/tags/tag2046.xml" ContentType="application/vnd.openxmlformats-officedocument.presentationml.tags+xml"/>
  <Override PartName="/ppt/tags/tag2047.xml" ContentType="application/vnd.openxmlformats-officedocument.presentationml.tags+xml"/>
  <Override PartName="/ppt/tags/tag2048.xml" ContentType="application/vnd.openxmlformats-officedocument.presentationml.tags+xml"/>
  <Override PartName="/ppt/tags/tag2049.xml" ContentType="application/vnd.openxmlformats-officedocument.presentationml.tags+xml"/>
  <Override PartName="/ppt/tags/tag2050.xml" ContentType="application/vnd.openxmlformats-officedocument.presentationml.tags+xml"/>
  <Override PartName="/ppt/tags/tag2051.xml" ContentType="application/vnd.openxmlformats-officedocument.presentationml.tags+xml"/>
  <Override PartName="/ppt/tags/tag2052.xml" ContentType="application/vnd.openxmlformats-officedocument.presentationml.tags+xml"/>
  <Override PartName="/ppt/tags/tag2053.xml" ContentType="application/vnd.openxmlformats-officedocument.presentationml.tags+xml"/>
  <Override PartName="/ppt/tags/tag2054.xml" ContentType="application/vnd.openxmlformats-officedocument.presentationml.tags+xml"/>
  <Override PartName="/ppt/tags/tag2055.xml" ContentType="application/vnd.openxmlformats-officedocument.presentationml.tags+xml"/>
  <Override PartName="/ppt/tags/tag2056.xml" ContentType="application/vnd.openxmlformats-officedocument.presentationml.tags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tags/tag2057.xml" ContentType="application/vnd.openxmlformats-officedocument.presentationml.tags+xml"/>
  <Override PartName="/ppt/tags/tag2058.xml" ContentType="application/vnd.openxmlformats-officedocument.presentationml.tags+xml"/>
  <Override PartName="/ppt/tags/tag2059.xml" ContentType="application/vnd.openxmlformats-officedocument.presentationml.tags+xml"/>
  <Override PartName="/ppt/tags/tag2060.xml" ContentType="application/vnd.openxmlformats-officedocument.presentationml.tags+xml"/>
  <Override PartName="/ppt/tags/tag2061.xml" ContentType="application/vnd.openxmlformats-officedocument.presentationml.tags+xml"/>
  <Override PartName="/ppt/tags/tag2062.xml" ContentType="application/vnd.openxmlformats-officedocument.presentationml.tags+xml"/>
  <Override PartName="/ppt/tags/tag2063.xml" ContentType="application/vnd.openxmlformats-officedocument.presentationml.tags+xml"/>
  <Override PartName="/ppt/tags/tag2064.xml" ContentType="application/vnd.openxmlformats-officedocument.presentationml.tags+xml"/>
  <Override PartName="/ppt/tags/tag2065.xml" ContentType="application/vnd.openxmlformats-officedocument.presentationml.tags+xml"/>
  <Override PartName="/ppt/tags/tag2066.xml" ContentType="application/vnd.openxmlformats-officedocument.presentationml.tags+xml"/>
  <Override PartName="/ppt/tags/tag2067.xml" ContentType="application/vnd.openxmlformats-officedocument.presentationml.tags+xml"/>
  <Override PartName="/ppt/tags/tag2068.xml" ContentType="application/vnd.openxmlformats-officedocument.presentationml.tags+xml"/>
  <Override PartName="/ppt/tags/tag2069.xml" ContentType="application/vnd.openxmlformats-officedocument.presentationml.tags+xml"/>
  <Override PartName="/ppt/tags/tag2070.xml" ContentType="application/vnd.openxmlformats-officedocument.presentationml.tags+xml"/>
  <Override PartName="/ppt/tags/tag2071.xml" ContentType="application/vnd.openxmlformats-officedocument.presentationml.tags+xml"/>
  <Override PartName="/ppt/tags/tag2072.xml" ContentType="application/vnd.openxmlformats-officedocument.presentationml.tags+xml"/>
  <Override PartName="/ppt/tags/tag2073.xml" ContentType="application/vnd.openxmlformats-officedocument.presentationml.tags+xml"/>
  <Override PartName="/ppt/tags/tag2074.xml" ContentType="application/vnd.openxmlformats-officedocument.presentationml.tags+xml"/>
  <Override PartName="/ppt/tags/tag2075.xml" ContentType="application/vnd.openxmlformats-officedocument.presentationml.tags+xml"/>
  <Override PartName="/ppt/tags/tag2076.xml" ContentType="application/vnd.openxmlformats-officedocument.presentationml.tags+xml"/>
  <Override PartName="/ppt/tags/tag2077.xml" ContentType="application/vnd.openxmlformats-officedocument.presentationml.tags+xml"/>
  <Override PartName="/ppt/tags/tag2078.xml" ContentType="application/vnd.openxmlformats-officedocument.presentationml.tags+xml"/>
  <Override PartName="/ppt/tags/tag2079.xml" ContentType="application/vnd.openxmlformats-officedocument.presentationml.tags+xml"/>
  <Override PartName="/ppt/tags/tag2080.xml" ContentType="application/vnd.openxmlformats-officedocument.presentationml.tags+xml"/>
  <Override PartName="/ppt/tags/tag2081.xml" ContentType="application/vnd.openxmlformats-officedocument.presentationml.tags+xml"/>
  <Override PartName="/ppt/tags/tag2082.xml" ContentType="application/vnd.openxmlformats-officedocument.presentationml.tags+xml"/>
  <Override PartName="/ppt/tags/tag2083.xml" ContentType="application/vnd.openxmlformats-officedocument.presentationml.tags+xml"/>
  <Override PartName="/ppt/tags/tag2084.xml" ContentType="application/vnd.openxmlformats-officedocument.presentationml.tags+xml"/>
  <Override PartName="/ppt/tags/tag2085.xml" ContentType="application/vnd.openxmlformats-officedocument.presentationml.tags+xml"/>
  <Override PartName="/ppt/tags/tag2086.xml" ContentType="application/vnd.openxmlformats-officedocument.presentationml.tags+xml"/>
  <Override PartName="/ppt/tags/tag2087.xml" ContentType="application/vnd.openxmlformats-officedocument.presentationml.tags+xml"/>
  <Override PartName="/ppt/tags/tag2088.xml" ContentType="application/vnd.openxmlformats-officedocument.presentationml.tags+xml"/>
  <Override PartName="/ppt/tags/tag2089.xml" ContentType="application/vnd.openxmlformats-officedocument.presentationml.tags+xml"/>
  <Override PartName="/ppt/tags/tag2090.xml" ContentType="application/vnd.openxmlformats-officedocument.presentationml.tags+xml"/>
  <Override PartName="/ppt/tags/tag2091.xml" ContentType="application/vnd.openxmlformats-officedocument.presentationml.tags+xml"/>
  <Override PartName="/ppt/tags/tag2092.xml" ContentType="application/vnd.openxmlformats-officedocument.presentationml.tags+xml"/>
  <Override PartName="/ppt/tags/tag2093.xml" ContentType="application/vnd.openxmlformats-officedocument.presentationml.tags+xml"/>
  <Override PartName="/ppt/tags/tag2094.xml" ContentType="application/vnd.openxmlformats-officedocument.presentationml.tags+xml"/>
  <Override PartName="/ppt/tags/tag2095.xml" ContentType="application/vnd.openxmlformats-officedocument.presentationml.tags+xml"/>
  <Override PartName="/ppt/tags/tag2096.xml" ContentType="application/vnd.openxmlformats-officedocument.presentationml.tags+xml"/>
  <Override PartName="/ppt/tags/tag2097.xml" ContentType="application/vnd.openxmlformats-officedocument.presentationml.tags+xml"/>
  <Override PartName="/ppt/tags/tag2098.xml" ContentType="application/vnd.openxmlformats-officedocument.presentationml.tags+xml"/>
  <Override PartName="/ppt/tags/tag2099.xml" ContentType="application/vnd.openxmlformats-officedocument.presentationml.tags+xml"/>
  <Override PartName="/ppt/tags/tag2100.xml" ContentType="application/vnd.openxmlformats-officedocument.presentationml.tags+xml"/>
  <Override PartName="/ppt/tags/tag2101.xml" ContentType="application/vnd.openxmlformats-officedocument.presentationml.tags+xml"/>
  <Override PartName="/ppt/tags/tag2102.xml" ContentType="application/vnd.openxmlformats-officedocument.presentationml.tags+xml"/>
  <Override PartName="/ppt/tags/tag2103.xml" ContentType="application/vnd.openxmlformats-officedocument.presentationml.tags+xml"/>
  <Override PartName="/ppt/tags/tag2104.xml" ContentType="application/vnd.openxmlformats-officedocument.presentationml.tags+xml"/>
  <Override PartName="/ppt/tags/tag2105.xml" ContentType="application/vnd.openxmlformats-officedocument.presentationml.tags+xml"/>
  <Override PartName="/ppt/tags/tag2106.xml" ContentType="application/vnd.openxmlformats-officedocument.presentationml.tags+xml"/>
  <Override PartName="/ppt/tags/tag2107.xml" ContentType="application/vnd.openxmlformats-officedocument.presentationml.tags+xml"/>
  <Override PartName="/ppt/tags/tag2108.xml" ContentType="application/vnd.openxmlformats-officedocument.presentationml.tags+xml"/>
  <Override PartName="/ppt/tags/tag2109.xml" ContentType="application/vnd.openxmlformats-officedocument.presentationml.tags+xml"/>
  <Override PartName="/ppt/tags/tag2110.xml" ContentType="application/vnd.openxmlformats-officedocument.presentationml.tags+xml"/>
  <Override PartName="/ppt/tags/tag2111.xml" ContentType="application/vnd.openxmlformats-officedocument.presentationml.tags+xml"/>
  <Override PartName="/ppt/tags/tag2112.xml" ContentType="application/vnd.openxmlformats-officedocument.presentationml.tags+xml"/>
  <Override PartName="/ppt/tags/tag2113.xml" ContentType="application/vnd.openxmlformats-officedocument.presentationml.tags+xml"/>
  <Override PartName="/ppt/tags/tag2114.xml" ContentType="application/vnd.openxmlformats-officedocument.presentationml.tags+xml"/>
  <Override PartName="/ppt/tags/tag2115.xml" ContentType="application/vnd.openxmlformats-officedocument.presentationml.tags+xml"/>
  <Override PartName="/ppt/tags/tag2116.xml" ContentType="application/vnd.openxmlformats-officedocument.presentationml.tags+xml"/>
  <Override PartName="/ppt/tags/tag2117.xml" ContentType="application/vnd.openxmlformats-officedocument.presentationml.tags+xml"/>
  <Override PartName="/ppt/tags/tag2118.xml" ContentType="application/vnd.openxmlformats-officedocument.presentationml.tags+xml"/>
  <Override PartName="/ppt/tags/tag2119.xml" ContentType="application/vnd.openxmlformats-officedocument.presentationml.tags+xml"/>
  <Override PartName="/ppt/tags/tag2120.xml" ContentType="application/vnd.openxmlformats-officedocument.presentationml.tags+xml"/>
  <Override PartName="/ppt/tags/tag2121.xml" ContentType="application/vnd.openxmlformats-officedocument.presentationml.tags+xml"/>
  <Override PartName="/ppt/tags/tag2122.xml" ContentType="application/vnd.openxmlformats-officedocument.presentationml.tags+xml"/>
  <Override PartName="/ppt/tags/tag2123.xml" ContentType="application/vnd.openxmlformats-officedocument.presentationml.tags+xml"/>
  <Override PartName="/ppt/tags/tag2124.xml" ContentType="application/vnd.openxmlformats-officedocument.presentationml.tags+xml"/>
  <Override PartName="/ppt/tags/tag2125.xml" ContentType="application/vnd.openxmlformats-officedocument.presentationml.tags+xml"/>
  <Override PartName="/ppt/tags/tag2126.xml" ContentType="application/vnd.openxmlformats-officedocument.presentationml.tags+xml"/>
  <Override PartName="/ppt/tags/tag2127.xml" ContentType="application/vnd.openxmlformats-officedocument.presentationml.tags+xml"/>
  <Override PartName="/ppt/tags/tag2128.xml" ContentType="application/vnd.openxmlformats-officedocument.presentationml.tags+xml"/>
  <Override PartName="/ppt/tags/tag2129.xml" ContentType="application/vnd.openxmlformats-officedocument.presentationml.tags+xml"/>
  <Override PartName="/ppt/tags/tag2130.xml" ContentType="application/vnd.openxmlformats-officedocument.presentationml.tags+xml"/>
  <Override PartName="/ppt/tags/tag2131.xml" ContentType="application/vnd.openxmlformats-officedocument.presentationml.tags+xml"/>
  <Override PartName="/ppt/tags/tag2132.xml" ContentType="application/vnd.openxmlformats-officedocument.presentationml.tags+xml"/>
  <Override PartName="/ppt/tags/tag2133.xml" ContentType="application/vnd.openxmlformats-officedocument.presentationml.tags+xml"/>
  <Override PartName="/ppt/tags/tag2134.xml" ContentType="application/vnd.openxmlformats-officedocument.presentationml.tags+xml"/>
  <Override PartName="/ppt/tags/tag2135.xml" ContentType="application/vnd.openxmlformats-officedocument.presentationml.tags+xml"/>
  <Override PartName="/ppt/tags/tag2136.xml" ContentType="application/vnd.openxmlformats-officedocument.presentationml.tags+xml"/>
  <Override PartName="/ppt/tags/tag2137.xml" ContentType="application/vnd.openxmlformats-officedocument.presentationml.tags+xml"/>
  <Override PartName="/ppt/tags/tag2138.xml" ContentType="application/vnd.openxmlformats-officedocument.presentationml.tags+xml"/>
  <Override PartName="/ppt/tags/tag2139.xml" ContentType="application/vnd.openxmlformats-officedocument.presentationml.tags+xml"/>
  <Override PartName="/ppt/tags/tag2140.xml" ContentType="application/vnd.openxmlformats-officedocument.presentationml.tags+xml"/>
  <Override PartName="/ppt/tags/tag2141.xml" ContentType="application/vnd.openxmlformats-officedocument.presentationml.tags+xml"/>
  <Override PartName="/ppt/tags/tag2142.xml" ContentType="application/vnd.openxmlformats-officedocument.presentationml.tags+xml"/>
  <Override PartName="/ppt/tags/tag2143.xml" ContentType="application/vnd.openxmlformats-officedocument.presentationml.tags+xml"/>
  <Override PartName="/ppt/tags/tag2144.xml" ContentType="application/vnd.openxmlformats-officedocument.presentationml.tags+xml"/>
  <Override PartName="/ppt/tags/tag2145.xml" ContentType="application/vnd.openxmlformats-officedocument.presentationml.tags+xml"/>
  <Override PartName="/ppt/tags/tag2146.xml" ContentType="application/vnd.openxmlformats-officedocument.presentationml.tags+xml"/>
  <Override PartName="/ppt/tags/tag2147.xml" ContentType="application/vnd.openxmlformats-officedocument.presentationml.tags+xml"/>
  <Override PartName="/ppt/tags/tag2148.xml" ContentType="application/vnd.openxmlformats-officedocument.presentationml.tags+xml"/>
  <Override PartName="/ppt/tags/tag2149.xml" ContentType="application/vnd.openxmlformats-officedocument.presentationml.tags+xml"/>
  <Override PartName="/ppt/tags/tag2150.xml" ContentType="application/vnd.openxmlformats-officedocument.presentationml.tags+xml"/>
  <Override PartName="/ppt/tags/tag2151.xml" ContentType="application/vnd.openxmlformats-officedocument.presentationml.tags+xml"/>
  <Override PartName="/ppt/tags/tag2152.xml" ContentType="application/vnd.openxmlformats-officedocument.presentationml.tags+xml"/>
  <Override PartName="/ppt/tags/tag2153.xml" ContentType="application/vnd.openxmlformats-officedocument.presentationml.tags+xml"/>
  <Override PartName="/ppt/tags/tag2154.xml" ContentType="application/vnd.openxmlformats-officedocument.presentationml.tags+xml"/>
  <Override PartName="/ppt/tags/tag2155.xml" ContentType="application/vnd.openxmlformats-officedocument.presentationml.tags+xml"/>
  <Override PartName="/ppt/tags/tag2156.xml" ContentType="application/vnd.openxmlformats-officedocument.presentationml.tags+xml"/>
  <Override PartName="/ppt/tags/tag2157.xml" ContentType="application/vnd.openxmlformats-officedocument.presentationml.tags+xml"/>
  <Override PartName="/ppt/notesSlides/notesSlide28.xml" ContentType="application/vnd.openxmlformats-officedocument.presentationml.notesSlide+xml"/>
  <Override PartName="/ppt/charts/chart28.xml" ContentType="application/vnd.openxmlformats-officedocument.drawingml.chart+xml"/>
  <Override PartName="/ppt/tags/tag2158.xml" ContentType="application/vnd.openxmlformats-officedocument.presentationml.tags+xml"/>
  <Override PartName="/ppt/tags/tag2159.xml" ContentType="application/vnd.openxmlformats-officedocument.presentationml.tags+xml"/>
  <Override PartName="/ppt/tags/tag2160.xml" ContentType="application/vnd.openxmlformats-officedocument.presentationml.tags+xml"/>
  <Override PartName="/ppt/tags/tag2161.xml" ContentType="application/vnd.openxmlformats-officedocument.presentationml.tags+xml"/>
  <Override PartName="/ppt/tags/tag2162.xml" ContentType="application/vnd.openxmlformats-officedocument.presentationml.tags+xml"/>
  <Override PartName="/ppt/tags/tag2163.xml" ContentType="application/vnd.openxmlformats-officedocument.presentationml.tags+xml"/>
  <Override PartName="/ppt/tags/tag2164.xml" ContentType="application/vnd.openxmlformats-officedocument.presentationml.tags+xml"/>
  <Override PartName="/ppt/tags/tag2165.xml" ContentType="application/vnd.openxmlformats-officedocument.presentationml.tags+xml"/>
  <Override PartName="/ppt/tags/tag2166.xml" ContentType="application/vnd.openxmlformats-officedocument.presentationml.tags+xml"/>
  <Override PartName="/ppt/tags/tag2167.xml" ContentType="application/vnd.openxmlformats-officedocument.presentationml.tags+xml"/>
  <Override PartName="/ppt/tags/tag2168.xml" ContentType="application/vnd.openxmlformats-officedocument.presentationml.tags+xml"/>
  <Override PartName="/ppt/tags/tag2169.xml" ContentType="application/vnd.openxmlformats-officedocument.presentationml.tags+xml"/>
  <Override PartName="/ppt/tags/tag2170.xml" ContentType="application/vnd.openxmlformats-officedocument.presentationml.tags+xml"/>
  <Override PartName="/ppt/tags/tag2171.xml" ContentType="application/vnd.openxmlformats-officedocument.presentationml.tags+xml"/>
  <Override PartName="/ppt/tags/tag2172.xml" ContentType="application/vnd.openxmlformats-officedocument.presentationml.tags+xml"/>
  <Override PartName="/ppt/tags/tag2173.xml" ContentType="application/vnd.openxmlformats-officedocument.presentationml.tags+xml"/>
  <Override PartName="/ppt/tags/tag2174.xml" ContentType="application/vnd.openxmlformats-officedocument.presentationml.tags+xml"/>
  <Override PartName="/ppt/tags/tag2175.xml" ContentType="application/vnd.openxmlformats-officedocument.presentationml.tags+xml"/>
  <Override PartName="/ppt/tags/tag2176.xml" ContentType="application/vnd.openxmlformats-officedocument.presentationml.tags+xml"/>
  <Override PartName="/ppt/tags/tag2177.xml" ContentType="application/vnd.openxmlformats-officedocument.presentationml.tags+xml"/>
  <Override PartName="/ppt/tags/tag2178.xml" ContentType="application/vnd.openxmlformats-officedocument.presentationml.tags+xml"/>
  <Override PartName="/ppt/tags/tag2179.xml" ContentType="application/vnd.openxmlformats-officedocument.presentationml.tags+xml"/>
  <Override PartName="/ppt/tags/tag2180.xml" ContentType="application/vnd.openxmlformats-officedocument.presentationml.tags+xml"/>
  <Override PartName="/ppt/tags/tag2181.xml" ContentType="application/vnd.openxmlformats-officedocument.presentationml.tags+xml"/>
  <Override PartName="/ppt/tags/tag2182.xml" ContentType="application/vnd.openxmlformats-officedocument.presentationml.tags+xml"/>
  <Override PartName="/ppt/tags/tag2183.xml" ContentType="application/vnd.openxmlformats-officedocument.presentationml.tags+xml"/>
  <Override PartName="/ppt/tags/tag2184.xml" ContentType="application/vnd.openxmlformats-officedocument.presentationml.tags+xml"/>
  <Override PartName="/ppt/tags/tag2185.xml" ContentType="application/vnd.openxmlformats-officedocument.presentationml.tags+xml"/>
  <Override PartName="/ppt/tags/tag2186.xml" ContentType="application/vnd.openxmlformats-officedocument.presentationml.tags+xml"/>
  <Override PartName="/ppt/tags/tag2187.xml" ContentType="application/vnd.openxmlformats-officedocument.presentationml.tags+xml"/>
  <Override PartName="/ppt/tags/tag2188.xml" ContentType="application/vnd.openxmlformats-officedocument.presentationml.tags+xml"/>
  <Override PartName="/ppt/tags/tag2189.xml" ContentType="application/vnd.openxmlformats-officedocument.presentationml.tags+xml"/>
  <Override PartName="/ppt/tags/tag2190.xml" ContentType="application/vnd.openxmlformats-officedocument.presentationml.tags+xml"/>
  <Override PartName="/ppt/tags/tag2191.xml" ContentType="application/vnd.openxmlformats-officedocument.presentationml.tags+xml"/>
  <Override PartName="/ppt/tags/tag2192.xml" ContentType="application/vnd.openxmlformats-officedocument.presentationml.tags+xml"/>
  <Override PartName="/ppt/tags/tag2193.xml" ContentType="application/vnd.openxmlformats-officedocument.presentationml.tags+xml"/>
  <Override PartName="/ppt/charts/chart29.xml" ContentType="application/vnd.openxmlformats-officedocument.drawingml.chart+xml"/>
  <Override PartName="/ppt/tags/tag2194.xml" ContentType="application/vnd.openxmlformats-officedocument.presentationml.tags+xml"/>
  <Override PartName="/ppt/tags/tag2195.xml" ContentType="application/vnd.openxmlformats-officedocument.presentationml.tags+xml"/>
  <Override PartName="/ppt/tags/tag2196.xml" ContentType="application/vnd.openxmlformats-officedocument.presentationml.tags+xml"/>
  <Override PartName="/ppt/tags/tag2197.xml" ContentType="application/vnd.openxmlformats-officedocument.presentationml.tags+xml"/>
  <Override PartName="/ppt/tags/tag2198.xml" ContentType="application/vnd.openxmlformats-officedocument.presentationml.tags+xml"/>
  <Override PartName="/ppt/tags/tag2199.xml" ContentType="application/vnd.openxmlformats-officedocument.presentationml.tags+xml"/>
  <Override PartName="/ppt/tags/tag2200.xml" ContentType="application/vnd.openxmlformats-officedocument.presentationml.tags+xml"/>
  <Override PartName="/ppt/tags/tag2201.xml" ContentType="application/vnd.openxmlformats-officedocument.presentationml.tags+xml"/>
  <Override PartName="/ppt/tags/tag2202.xml" ContentType="application/vnd.openxmlformats-officedocument.presentationml.tags+xml"/>
  <Override PartName="/ppt/tags/tag2203.xml" ContentType="application/vnd.openxmlformats-officedocument.presentationml.tags+xml"/>
  <Override PartName="/ppt/tags/tag2204.xml" ContentType="application/vnd.openxmlformats-officedocument.presentationml.tags+xml"/>
  <Override PartName="/ppt/tags/tag2205.xml" ContentType="application/vnd.openxmlformats-officedocument.presentationml.tags+xml"/>
  <Override PartName="/ppt/tags/tag2206.xml" ContentType="application/vnd.openxmlformats-officedocument.presentationml.tags+xml"/>
  <Override PartName="/ppt/tags/tag2207.xml" ContentType="application/vnd.openxmlformats-officedocument.presentationml.tags+xml"/>
  <Override PartName="/ppt/tags/tag2208.xml" ContentType="application/vnd.openxmlformats-officedocument.presentationml.tags+xml"/>
  <Override PartName="/ppt/tags/tag2209.xml" ContentType="application/vnd.openxmlformats-officedocument.presentationml.tags+xml"/>
  <Override PartName="/ppt/tags/tag2210.xml" ContentType="application/vnd.openxmlformats-officedocument.presentationml.tags+xml"/>
  <Override PartName="/ppt/tags/tag2211.xml" ContentType="application/vnd.openxmlformats-officedocument.presentationml.tags+xml"/>
  <Override PartName="/ppt/tags/tag2212.xml" ContentType="application/vnd.openxmlformats-officedocument.presentationml.tags+xml"/>
  <Override PartName="/ppt/tags/tag2213.xml" ContentType="application/vnd.openxmlformats-officedocument.presentationml.tags+xml"/>
  <Override PartName="/ppt/tags/tag2214.xml" ContentType="application/vnd.openxmlformats-officedocument.presentationml.tags+xml"/>
  <Override PartName="/ppt/tags/tag2215.xml" ContentType="application/vnd.openxmlformats-officedocument.presentationml.tags+xml"/>
  <Override PartName="/ppt/tags/tag2216.xml" ContentType="application/vnd.openxmlformats-officedocument.presentationml.tags+xml"/>
  <Override PartName="/ppt/tags/tag2217.xml" ContentType="application/vnd.openxmlformats-officedocument.presentationml.tags+xml"/>
  <Override PartName="/ppt/tags/tag2218.xml" ContentType="application/vnd.openxmlformats-officedocument.presentationml.tags+xml"/>
  <Override PartName="/ppt/tags/tag2219.xml" ContentType="application/vnd.openxmlformats-officedocument.presentationml.tags+xml"/>
  <Override PartName="/ppt/tags/tag2220.xml" ContentType="application/vnd.openxmlformats-officedocument.presentationml.tags+xml"/>
  <Override PartName="/ppt/tags/tag2221.xml" ContentType="application/vnd.openxmlformats-officedocument.presentationml.tags+xml"/>
  <Override PartName="/ppt/tags/tag2222.xml" ContentType="application/vnd.openxmlformats-officedocument.presentationml.tags+xml"/>
  <Override PartName="/ppt/tags/tag2223.xml" ContentType="application/vnd.openxmlformats-officedocument.presentationml.tags+xml"/>
  <Override PartName="/ppt/tags/tag2224.xml" ContentType="application/vnd.openxmlformats-officedocument.presentationml.tags+xml"/>
  <Override PartName="/ppt/tags/tag2225.xml" ContentType="application/vnd.openxmlformats-officedocument.presentationml.tags+xml"/>
  <Override PartName="/ppt/tags/tag2226.xml" ContentType="application/vnd.openxmlformats-officedocument.presentationml.tags+xml"/>
  <Override PartName="/ppt/tags/tag2227.xml" ContentType="application/vnd.openxmlformats-officedocument.presentationml.tags+xml"/>
  <Override PartName="/ppt/tags/tag2228.xml" ContentType="application/vnd.openxmlformats-officedocument.presentationml.tags+xml"/>
  <Override PartName="/ppt/tags/tag2229.xml" ContentType="application/vnd.openxmlformats-officedocument.presentationml.tags+xml"/>
  <Override PartName="/ppt/tags/tag2230.xml" ContentType="application/vnd.openxmlformats-officedocument.presentationml.tags+xml"/>
  <Override PartName="/ppt/tags/tag2231.xml" ContentType="application/vnd.openxmlformats-officedocument.presentationml.tags+xml"/>
  <Override PartName="/ppt/tags/tag2232.xml" ContentType="application/vnd.openxmlformats-officedocument.presentationml.tags+xml"/>
  <Override PartName="/ppt/tags/tag2233.xml" ContentType="application/vnd.openxmlformats-officedocument.presentationml.tags+xml"/>
  <Override PartName="/ppt/tags/tag2234.xml" ContentType="application/vnd.openxmlformats-officedocument.presentationml.tags+xml"/>
  <Override PartName="/ppt/tags/tag2235.xml" ContentType="application/vnd.openxmlformats-officedocument.presentationml.tags+xml"/>
  <Override PartName="/ppt/tags/tag2236.xml" ContentType="application/vnd.openxmlformats-officedocument.presentationml.tags+xml"/>
  <Override PartName="/ppt/tags/tag2237.xml" ContentType="application/vnd.openxmlformats-officedocument.presentationml.tags+xml"/>
  <Override PartName="/ppt/tags/tag2238.xml" ContentType="application/vnd.openxmlformats-officedocument.presentationml.tags+xml"/>
  <Override PartName="/ppt/tags/tag2239.xml" ContentType="application/vnd.openxmlformats-officedocument.presentationml.tags+xml"/>
  <Override PartName="/ppt/tags/tag2240.xml" ContentType="application/vnd.openxmlformats-officedocument.presentationml.tags+xml"/>
  <Override PartName="/ppt/charts/chart30.xml" ContentType="application/vnd.openxmlformats-officedocument.drawingml.chart+xml"/>
  <Override PartName="/ppt/tags/tag2241.xml" ContentType="application/vnd.openxmlformats-officedocument.presentationml.tags+xml"/>
  <Override PartName="/ppt/tags/tag2242.xml" ContentType="application/vnd.openxmlformats-officedocument.presentationml.tags+xml"/>
  <Override PartName="/ppt/tags/tag2243.xml" ContentType="application/vnd.openxmlformats-officedocument.presentationml.tags+xml"/>
  <Override PartName="/ppt/tags/tag2244.xml" ContentType="application/vnd.openxmlformats-officedocument.presentationml.tags+xml"/>
  <Override PartName="/ppt/tags/tag2245.xml" ContentType="application/vnd.openxmlformats-officedocument.presentationml.tags+xml"/>
  <Override PartName="/ppt/notesSlides/notesSlide29.xml" ContentType="application/vnd.openxmlformats-officedocument.presentationml.notesSlide+xml"/>
  <Override PartName="/ppt/tags/tag2246.xml" ContentType="application/vnd.openxmlformats-officedocument.presentationml.tags+xml"/>
  <Override PartName="/ppt/tags/tag2247.xml" ContentType="application/vnd.openxmlformats-officedocument.presentationml.tags+xml"/>
  <Override PartName="/ppt/tags/tag2248.xml" ContentType="application/vnd.openxmlformats-officedocument.presentationml.tags+xml"/>
  <Override PartName="/ppt/tags/tag2249.xml" ContentType="application/vnd.openxmlformats-officedocument.presentationml.tags+xml"/>
  <Override PartName="/ppt/tags/tag2250.xml" ContentType="application/vnd.openxmlformats-officedocument.presentationml.tags+xml"/>
  <Override PartName="/ppt/tags/tag2251.xml" ContentType="application/vnd.openxmlformats-officedocument.presentationml.tags+xml"/>
  <Override PartName="/ppt/tags/tag2252.xml" ContentType="application/vnd.openxmlformats-officedocument.presentationml.tags+xml"/>
  <Override PartName="/ppt/tags/tag2253.xml" ContentType="application/vnd.openxmlformats-officedocument.presentationml.tags+xml"/>
  <Override PartName="/ppt/tags/tag2254.xml" ContentType="application/vnd.openxmlformats-officedocument.presentationml.tags+xml"/>
  <Override PartName="/ppt/tags/tag2255.xml" ContentType="application/vnd.openxmlformats-officedocument.presentationml.tags+xml"/>
  <Override PartName="/ppt/tags/tag2256.xml" ContentType="application/vnd.openxmlformats-officedocument.presentationml.tags+xml"/>
  <Override PartName="/ppt/tags/tag2257.xml" ContentType="application/vnd.openxmlformats-officedocument.presentationml.tags+xml"/>
  <Override PartName="/ppt/tags/tag2258.xml" ContentType="application/vnd.openxmlformats-officedocument.presentationml.tags+xml"/>
  <Override PartName="/ppt/tags/tag2259.xml" ContentType="application/vnd.openxmlformats-officedocument.presentationml.tags+xml"/>
  <Override PartName="/ppt/tags/tag2260.xml" ContentType="application/vnd.openxmlformats-officedocument.presentationml.tags+xml"/>
  <Override PartName="/ppt/tags/tag2261.xml" ContentType="application/vnd.openxmlformats-officedocument.presentationml.tags+xml"/>
  <Override PartName="/ppt/tags/tag2262.xml" ContentType="application/vnd.openxmlformats-officedocument.presentationml.tags+xml"/>
  <Override PartName="/ppt/tags/tag2263.xml" ContentType="application/vnd.openxmlformats-officedocument.presentationml.tags+xml"/>
  <Override PartName="/ppt/tags/tag2264.xml" ContentType="application/vnd.openxmlformats-officedocument.presentationml.tags+xml"/>
  <Override PartName="/ppt/tags/tag2265.xml" ContentType="application/vnd.openxmlformats-officedocument.presentationml.tags+xml"/>
  <Override PartName="/ppt/tags/tag2266.xml" ContentType="application/vnd.openxmlformats-officedocument.presentationml.tags+xml"/>
  <Override PartName="/ppt/tags/tag2267.xml" ContentType="application/vnd.openxmlformats-officedocument.presentationml.tags+xml"/>
  <Override PartName="/ppt/tags/tag2268.xml" ContentType="application/vnd.openxmlformats-officedocument.presentationml.tags+xml"/>
  <Override PartName="/ppt/tags/tag2269.xml" ContentType="application/vnd.openxmlformats-officedocument.presentationml.tags+xml"/>
  <Override PartName="/ppt/tags/tag2270.xml" ContentType="application/vnd.openxmlformats-officedocument.presentationml.tags+xml"/>
  <Override PartName="/ppt/tags/tag2271.xml" ContentType="application/vnd.openxmlformats-officedocument.presentationml.tags+xml"/>
  <Override PartName="/ppt/tags/tag2272.xml" ContentType="application/vnd.openxmlformats-officedocument.presentationml.tags+xml"/>
  <Override PartName="/ppt/tags/tag2273.xml" ContentType="application/vnd.openxmlformats-officedocument.presentationml.tags+xml"/>
  <Override PartName="/ppt/tags/tag2274.xml" ContentType="application/vnd.openxmlformats-officedocument.presentationml.tags+xml"/>
  <Override PartName="/ppt/tags/tag2275.xml" ContentType="application/vnd.openxmlformats-officedocument.presentationml.tags+xml"/>
  <Override PartName="/ppt/tags/tag2276.xml" ContentType="application/vnd.openxmlformats-officedocument.presentationml.tags+xml"/>
  <Override PartName="/ppt/tags/tag2277.xml" ContentType="application/vnd.openxmlformats-officedocument.presentationml.tags+xml"/>
  <Override PartName="/ppt/tags/tag2278.xml" ContentType="application/vnd.openxmlformats-officedocument.presentationml.tags+xml"/>
  <Override PartName="/ppt/tags/tag2279.xml" ContentType="application/vnd.openxmlformats-officedocument.presentationml.tags+xml"/>
  <Override PartName="/ppt/tags/tag2280.xml" ContentType="application/vnd.openxmlformats-officedocument.presentationml.tags+xml"/>
  <Override PartName="/ppt/tags/tag2281.xml" ContentType="application/vnd.openxmlformats-officedocument.presentationml.tags+xml"/>
  <Override PartName="/ppt/tags/tag2282.xml" ContentType="application/vnd.openxmlformats-officedocument.presentationml.tags+xml"/>
  <Override PartName="/ppt/tags/tag2283.xml" ContentType="application/vnd.openxmlformats-officedocument.presentationml.tags+xml"/>
  <Override PartName="/ppt/tags/tag2284.xml" ContentType="application/vnd.openxmlformats-officedocument.presentationml.tags+xml"/>
  <Override PartName="/ppt/tags/tag2285.xml" ContentType="application/vnd.openxmlformats-officedocument.presentationml.tags+xml"/>
  <Override PartName="/ppt/notesSlides/notesSlide30.xml" ContentType="application/vnd.openxmlformats-officedocument.presentationml.notesSlide+xml"/>
  <Override PartName="/ppt/charts/chart31.xml" ContentType="application/vnd.openxmlformats-officedocument.drawingml.chart+xml"/>
  <Override PartName="/ppt/tags/tag2286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40"/>
  </p:notesMasterIdLst>
  <p:sldIdLst>
    <p:sldId id="2147483635" r:id="rId5"/>
    <p:sldId id="2147483613" r:id="rId6"/>
    <p:sldId id="2147483636" r:id="rId7"/>
    <p:sldId id="2147483626" r:id="rId8"/>
    <p:sldId id="2147483622" r:id="rId9"/>
    <p:sldId id="2147483627" r:id="rId10"/>
    <p:sldId id="2147483619" r:id="rId11"/>
    <p:sldId id="2147483628" r:id="rId12"/>
    <p:sldId id="2147483637" r:id="rId13"/>
    <p:sldId id="2147483629" r:id="rId14"/>
    <p:sldId id="2147483624" r:id="rId15"/>
    <p:sldId id="2147483630" r:id="rId16"/>
    <p:sldId id="2147483575" r:id="rId17"/>
    <p:sldId id="2147483631" r:id="rId18"/>
    <p:sldId id="2147483640" r:id="rId19"/>
    <p:sldId id="2147483641" r:id="rId20"/>
    <p:sldId id="2147483642" r:id="rId21"/>
    <p:sldId id="2147483643" r:id="rId22"/>
    <p:sldId id="2147483644" r:id="rId23"/>
    <p:sldId id="2147483645" r:id="rId24"/>
    <p:sldId id="2147483646" r:id="rId25"/>
    <p:sldId id="2147483647" r:id="rId26"/>
    <p:sldId id="256" r:id="rId27"/>
    <p:sldId id="257" r:id="rId28"/>
    <p:sldId id="258" r:id="rId29"/>
    <p:sldId id="259" r:id="rId30"/>
    <p:sldId id="2147483633" r:id="rId31"/>
    <p:sldId id="2147483569" r:id="rId32"/>
    <p:sldId id="2147483638" r:id="rId33"/>
    <p:sldId id="2147483625" r:id="rId34"/>
    <p:sldId id="2147483612" r:id="rId35"/>
    <p:sldId id="2147483634" r:id="rId36"/>
    <p:sldId id="2147483620" r:id="rId37"/>
    <p:sldId id="2147483576" r:id="rId38"/>
    <p:sldId id="2147483639" r:id="rId39"/>
  </p:sldIdLst>
  <p:sldSz cx="12192000" cy="6858000"/>
  <p:notesSz cx="6797675" cy="9926638"/>
  <p:custDataLst>
    <p:tags r:id="rId41"/>
  </p:custDataLst>
  <p:defaultTextStyle>
    <a:defPPr>
      <a:defRPr lang="en-US"/>
    </a:defPPr>
    <a:lvl1pPr marL="177800" indent="-177800" algn="l" defTabSz="711200" rtl="0" eaLnBrk="1" latinLnBrk="0" hangingPunct="1">
      <a:spcBef>
        <a:spcPts val="1200"/>
      </a:spcBef>
      <a:buChar char="•"/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3556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5334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711200" indent="-177800" algn="l" defTabSz="711200" rtl="0" eaLnBrk="1" latinLnBrk="0" hangingPunct="1">
      <a:spcBef>
        <a:spcPts val="600"/>
      </a:spcBef>
      <a:buChar char="–"/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889000" indent="-177800" algn="l" defTabSz="711200" rtl="0" eaLnBrk="1" latinLnBrk="0" hangingPunct="1">
      <a:spcBef>
        <a:spcPts val="600"/>
      </a:spcBef>
      <a:buChar char="&gt;"/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0668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12446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14224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1600200" indent="-177800" algn="l" defTabSz="7112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Overview" id="{EB141312-0A85-427B-9C79-0E9FB233E09C}">
          <p14:sldIdLst>
            <p14:sldId id="2147483635"/>
            <p14:sldId id="2147483613"/>
          </p14:sldIdLst>
        </p14:section>
        <p14:section name="Portfolio alignment development" id="{28F94BB1-B6DD-44C6-A7B5-3A96CC741A18}">
          <p14:sldIdLst>
            <p14:sldId id="2147483636"/>
            <p14:sldId id="2147483626"/>
            <p14:sldId id="2147483622"/>
            <p14:sldId id="2147483627"/>
            <p14:sldId id="2147483619"/>
            <p14:sldId id="2147483628"/>
          </p14:sldIdLst>
        </p14:section>
        <p14:section name="Portfolio alignment by fund" id="{9434C924-0DE1-4E92-9C75-43B76B2AB011}">
          <p14:sldIdLst>
            <p14:sldId id="2147483637"/>
            <p14:sldId id="2147483629"/>
            <p14:sldId id="2147483624"/>
            <p14:sldId id="2147483630"/>
            <p14:sldId id="2147483575"/>
            <p14:sldId id="2147483631"/>
          </p14:sldIdLst>
        </p14:section>
        <p14:section name="Portfolio alignment by sector" id="{FB98CDC3-586D-4530-9D26-D57D46CBBF0E}">
          <p14:sldIdLst>
            <p14:sldId id="2147483640"/>
            <p14:sldId id="2147483641"/>
            <p14:sldId id="2147483642"/>
            <p14:sldId id="2147483643"/>
            <p14:sldId id="2147483644"/>
            <p14:sldId id="2147483645"/>
          </p14:sldIdLst>
        </p14:section>
        <p14:section name="Portfolio alignment by region" id="{81600C5A-9D9B-4DCB-9D6A-36A9F0A9F58D}">
          <p14:sldIdLst>
            <p14:sldId id="2147483646"/>
            <p14:sldId id="2147483647"/>
            <p14:sldId id="256"/>
            <p14:sldId id="257"/>
            <p14:sldId id="258"/>
            <p14:sldId id="259"/>
          </p14:sldIdLst>
        </p14:section>
        <p14:section name="PortCo alignment development" id="{012490E8-A658-47DB-A9EC-8B09C0C46960}">
          <p14:sldIdLst>
            <p14:sldId id="2147483633"/>
            <p14:sldId id="2147483569"/>
            <p14:sldId id="2147483638"/>
            <p14:sldId id="2147483625"/>
          </p14:sldIdLst>
        </p14:section>
        <p14:section name="Portfolio progress since acquisition by PortCos" id="{85479BF7-5257-4F0D-B7BA-7E9DC0F07F8E}">
          <p14:sldIdLst>
            <p14:sldId id="2147483612"/>
            <p14:sldId id="2147483634"/>
          </p14:sldIdLst>
        </p14:section>
        <p14:section name="PortCos by financed emissions and Alignment Scale" id="{A3C08CF7-7130-4E0B-B125-B0189233C9A4}">
          <p14:sldIdLst>
            <p14:sldId id="2147483620"/>
          </p14:sldIdLst>
        </p14:section>
        <p14:section name="Portfolio companies by financed emissions, years since investment, invested capital" id="{E61C9072-23F6-4DD8-81A1-707EFFC08ABB}">
          <p14:sldIdLst>
            <p14:sldId id="2147483576"/>
            <p14:sldId id="214748363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D85B"/>
    <a:srgbClr val="E9CD49"/>
    <a:srgbClr val="F0F0F0"/>
    <a:srgbClr val="B4B4B4"/>
    <a:srgbClr val="83AC9A"/>
    <a:srgbClr val="858585"/>
    <a:srgbClr val="045E64"/>
    <a:srgbClr val="43868B"/>
    <a:srgbClr val="82AEB1"/>
    <a:srgbClr val="E1E1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F12C410-C0B2-4B8A-A2B0-9C98D3746D5A}" v="29" dt="2024-11-19T20:55:44.134"/>
  </p1510:revLst>
</p1510:revInfo>
</file>

<file path=ppt/tableStyles.xml><?xml version="1.0" encoding="utf-8"?>
<a:tblStyleLst xmlns:a="http://schemas.openxmlformats.org/drawingml/2006/main" def="{2D5ABB26-0587-4C30-8999-92F81FD0307C}">
  <a:tblStyle styleId="{9D7B26C5-4107-4FEC-AEDC-1716B250A1EF}" styleName="Light Style 1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 w="9525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solidFill>
            <a:schemeClr val="dk2"/>
          </a:solidFill>
        </a:fill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firstCol>
      <a:tcTxStyle b="on"/>
      <a:tcStyle>
        <a:tcBdr/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1905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accent3"/>
      </a:tcTxStyle>
      <a:tcStyle>
        <a:tcBdr>
          <a:bottom>
            <a:ln w="1905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836" autoAdjust="0"/>
    <p:restoredTop sz="94660"/>
  </p:normalViewPr>
  <p:slideViewPr>
    <p:cSldViewPr snapToGrid="0" showGuides="1">
      <p:cViewPr varScale="1">
        <p:scale>
          <a:sx n="115" d="100"/>
          <a:sy n="115" d="100"/>
        </p:scale>
        <p:origin x="360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presProps" Target="presProps.xml"/><Relationship Id="rId47" Type="http://schemas.microsoft.com/office/2015/10/relationships/revisionInfo" Target="revisionInfo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viewProps" Target="view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microsoft.com/office/2016/11/relationships/changesInfo" Target="changesInfos/changesInfo1.xml"/><Relationship Id="rId20" Type="http://schemas.openxmlformats.org/officeDocument/2006/relationships/slide" Target="slides/slide16.xml"/><Relationship Id="rId41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ssi, Leora" userId="a4bd0d4a-e651-4c6d-98fa-543a84327417" providerId="ADAL" clId="{CF12C410-C0B2-4B8A-A2B0-9C98D3746D5A}"/>
    <pc:docChg chg="custSel modSld modMainMaster replTag">
      <pc:chgData name="Lussi, Leora" userId="a4bd0d4a-e651-4c6d-98fa-543a84327417" providerId="ADAL" clId="{CF12C410-C0B2-4B8A-A2B0-9C98D3746D5A}" dt="2024-11-19T20:55:44.134" v="127"/>
      <pc:docMkLst>
        <pc:docMk/>
      </pc:docMkLst>
      <pc:sldChg chg="addSp delSp modSp mod">
        <pc:chgData name="Lussi, Leora" userId="a4bd0d4a-e651-4c6d-98fa-543a84327417" providerId="ADAL" clId="{CF12C410-C0B2-4B8A-A2B0-9C98D3746D5A}" dt="2024-11-19T20:55:44.134" v="127"/>
        <pc:sldMkLst>
          <pc:docMk/>
          <pc:sldMk cId="2517555132" sldId="2147483613"/>
        </pc:sldMkLst>
        <pc:spChg chg="mod">
          <ac:chgData name="Lussi, Leora" userId="a4bd0d4a-e651-4c6d-98fa-543a84327417" providerId="ADAL" clId="{CF12C410-C0B2-4B8A-A2B0-9C98D3746D5A}" dt="2024-11-19T20:55:44.115" v="123" actId="948"/>
          <ac:spMkLst>
            <pc:docMk/>
            <pc:sldMk cId="2517555132" sldId="2147483613"/>
            <ac:spMk id="2" creationId="{13CD23EA-3262-162D-71F6-C6AE1E9474E1}"/>
          </ac:spMkLst>
        </pc:spChg>
        <pc:spChg chg="add del mod modVis">
          <ac:chgData name="Lussi, Leora" userId="a4bd0d4a-e651-4c6d-98fa-543a84327417" providerId="ADAL" clId="{CF12C410-C0B2-4B8A-A2B0-9C98D3746D5A}" dt="2024-11-19T20:55:39.963" v="108"/>
          <ac:spMkLst>
            <pc:docMk/>
            <pc:sldMk cId="2517555132" sldId="2147483613"/>
            <ac:spMk id="4" creationId="{ED283A42-4589-BC0A-7B15-999DA7CCB219}"/>
          </ac:spMkLst>
        </pc:spChg>
        <pc:spChg chg="mod">
          <ac:chgData name="Lussi, Leora" userId="a4bd0d4a-e651-4c6d-98fa-543a84327417" providerId="ADAL" clId="{CF12C410-C0B2-4B8A-A2B0-9C98D3746D5A}" dt="2024-11-19T20:55:28.844" v="77" actId="20577"/>
          <ac:spMkLst>
            <pc:docMk/>
            <pc:sldMk cId="2517555132" sldId="2147483613"/>
            <ac:spMk id="35" creationId="{64E89FE8-DA0D-4A26-32AB-FF5868DC37CD}"/>
          </ac:spMkLst>
        </pc:spChg>
        <pc:graphicFrameChg chg="mod">
          <ac:chgData name="Lussi, Leora" userId="a4bd0d4a-e651-4c6d-98fa-543a84327417" providerId="ADAL" clId="{CF12C410-C0B2-4B8A-A2B0-9C98D3746D5A}" dt="2024-11-19T20:55:44.134" v="127"/>
          <ac:graphicFrameMkLst>
            <pc:docMk/>
            <pc:sldMk cId="2517555132" sldId="2147483613"/>
            <ac:graphicFrameMk id="37" creationId="{6B250CE3-ED56-CA41-B891-552A0A5AA714}"/>
          </ac:graphicFrameMkLst>
        </pc:graphicFrameChg>
      </pc:sldChg>
      <pc:sldChg chg="modSp mod">
        <pc:chgData name="Lussi, Leora" userId="a4bd0d4a-e651-4c6d-98fa-543a84327417" providerId="ADAL" clId="{CF12C410-C0B2-4B8A-A2B0-9C98D3746D5A}" dt="2024-11-19T20:52:45.656" v="6"/>
        <pc:sldMkLst>
          <pc:docMk/>
          <pc:sldMk cId="3208369296" sldId="2147483635"/>
        </pc:sldMkLst>
        <pc:spChg chg="mod">
          <ac:chgData name="Lussi, Leora" userId="a4bd0d4a-e651-4c6d-98fa-543a84327417" providerId="ADAL" clId="{CF12C410-C0B2-4B8A-A2B0-9C98D3746D5A}" dt="2024-11-19T20:52:45.656" v="2" actId="948"/>
          <ac:spMkLst>
            <pc:docMk/>
            <pc:sldMk cId="3208369296" sldId="2147483635"/>
            <ac:spMk id="4" creationId="{75A8B1FE-BA8F-8E9C-9B3D-05E75A4DE1B7}"/>
          </ac:spMkLst>
        </pc:spChg>
        <pc:graphicFrameChg chg="mod">
          <ac:chgData name="Lussi, Leora" userId="a4bd0d4a-e651-4c6d-98fa-543a84327417" providerId="ADAL" clId="{CF12C410-C0B2-4B8A-A2B0-9C98D3746D5A}" dt="2024-11-19T20:52:45.656" v="6"/>
          <ac:graphicFrameMkLst>
            <pc:docMk/>
            <pc:sldMk cId="3208369296" sldId="2147483635"/>
            <ac:graphicFrameMk id="16" creationId="{DD86C618-172E-9B79-5850-6D8C6C2774D9}"/>
          </ac:graphicFrameMkLst>
        </pc:graphicFrameChg>
      </pc:sldChg>
      <pc:sldMasterChg chg="modSp mod">
        <pc:chgData name="Lussi, Leora" userId="a4bd0d4a-e651-4c6d-98fa-543a84327417" providerId="ADAL" clId="{CF12C410-C0B2-4B8A-A2B0-9C98D3746D5A}" dt="2024-11-19T20:55:10.887" v="75" actId="20577"/>
        <pc:sldMasterMkLst>
          <pc:docMk/>
          <pc:sldMasterMk cId="3729795247" sldId="2147483648"/>
        </pc:sldMasterMkLst>
        <pc:spChg chg="mod">
          <ac:chgData name="Lussi, Leora" userId="a4bd0d4a-e651-4c6d-98fa-543a84327417" providerId="ADAL" clId="{CF12C410-C0B2-4B8A-A2B0-9C98D3746D5A}" dt="2024-11-19T20:55:10.887" v="75" actId="20577"/>
          <ac:spMkLst>
            <pc:docMk/>
            <pc:sldMasterMk cId="3729795247" sldId="2147483648"/>
            <ac:spMk id="5" creationId="{00000000-0000-0000-0000-000000000000}"/>
          </ac:spMkLst>
        </pc:sp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9.xlsb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0.xlsb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1.xlsb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2.xlsb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3.xlsb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4.xlsb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5.xlsb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6.xlsb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7.xlsb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8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9.xlsb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0.xlsb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1.xlsb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2.xlsb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3.xlsb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4.xlsb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5.xlsb"/></Relationships>
</file>

<file path=ppt/charts/_rels/chart2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6.xlsb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7.xlsb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8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9.xlsb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0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5.xlsb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6.xlsb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7.xlsb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8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57991644747023E-3"/>
          <c:y val="7.4866310160427801E-2"/>
          <c:w val="0.98390840167105065"/>
          <c:h val="0.850267379679144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2B7-4FEB-841E-D72DBA0C017A}"/>
              </c:ext>
            </c:extLst>
          </c:dPt>
          <c:dLbls>
            <c:dLbl>
              <c:idx val="0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B7-4FEB-841E-D72DBA0C017A}"/>
                </c:ext>
              </c:extLst>
            </c:dLbl>
            <c:dLbl>
              <c:idx val="1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2B7-4FEB-841E-D72DBA0C017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B7-4FEB-841E-D72DBA0C0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1.329987452948558</c:v>
                </c:pt>
                <c:pt idx="1">
                  <c:v>16.483516483516482</c:v>
                </c:pt>
                <c:pt idx="2">
                  <c:v>10.451977401129943</c:v>
                </c:pt>
                <c:pt idx="3">
                  <c:v>5.0561797752808983</c:v>
                </c:pt>
                <c:pt idx="4">
                  <c:v>4.72972972972972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2B7-4FEB-841E-D72DBA0C017A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9.44792973651192</c:v>
                </c:pt>
                <c:pt idx="1">
                  <c:v>17.582417582417584</c:v>
                </c:pt>
                <c:pt idx="2">
                  <c:v>14.971751412429379</c:v>
                </c:pt>
                <c:pt idx="3">
                  <c:v>7.8651685393258415</c:v>
                </c:pt>
                <c:pt idx="4">
                  <c:v>8.10810810810811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2B7-4FEB-841E-D72DBA0C017A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2B7-4FEB-841E-D72DBA0C017A}"/>
                </c:ext>
              </c:extLst>
            </c:dLbl>
            <c:dLbl>
              <c:idx val="1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2B7-4FEB-841E-D72DBA0C017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2B7-4FEB-841E-D72DBA0C017A}"/>
                </c:ext>
              </c:extLst>
            </c:dLbl>
            <c:dLbl>
              <c:idx val="3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2B7-4FEB-841E-D72DBA0C017A}"/>
                </c:ext>
              </c:extLst>
            </c:dLbl>
            <c:dLbl>
              <c:idx val="4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2B7-4FEB-841E-D72DBA0C0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8.506900878293596</c:v>
                </c:pt>
                <c:pt idx="1">
                  <c:v>19.23076923076923</c:v>
                </c:pt>
                <c:pt idx="2">
                  <c:v>14.124293785310737</c:v>
                </c:pt>
                <c:pt idx="3">
                  <c:v>7.3033707865168553</c:v>
                </c:pt>
                <c:pt idx="4">
                  <c:v>8.10810810810810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A2B7-4FEB-841E-D72DBA0C017A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4.052697616060229</c:v>
                </c:pt>
                <c:pt idx="1">
                  <c:v>9.3406593406593412</c:v>
                </c:pt>
                <c:pt idx="2">
                  <c:v>15.254237288135597</c:v>
                </c:pt>
                <c:pt idx="3">
                  <c:v>20.224719101123593</c:v>
                </c:pt>
                <c:pt idx="4">
                  <c:v>10.1351351351351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2B7-4FEB-841E-D72DBA0C017A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2B7-4FEB-841E-D72DBA0C017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2B7-4FEB-841E-D72DBA0C017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2B7-4FEB-841E-D72DBA0C017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2B7-4FEB-841E-D72DBA0C017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2B7-4FEB-841E-D72DBA0C0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14.429109159347552</c:v>
                </c:pt>
                <c:pt idx="1">
                  <c:v>10.439560439560436</c:v>
                </c:pt>
                <c:pt idx="2">
                  <c:v>15.819209039548021</c:v>
                </c:pt>
                <c:pt idx="3">
                  <c:v>19.101123595505619</c:v>
                </c:pt>
                <c:pt idx="4">
                  <c:v>18.9189189189189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A2B7-4FEB-841E-D72DBA0C017A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2B7-4FEB-841E-D72DBA0C017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2B7-4FEB-841E-D72DBA0C017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2B7-4FEB-841E-D72DBA0C017A}"/>
                </c:ext>
              </c:extLst>
            </c:dLbl>
            <c:dLbl>
              <c:idx val="3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2B7-4FEB-841E-D72DBA0C017A}"/>
                </c:ext>
              </c:extLst>
            </c:dLbl>
            <c:dLbl>
              <c:idx val="4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2B7-4FEB-841E-D72DBA0C0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7.5282308657465542</c:v>
                </c:pt>
                <c:pt idx="1">
                  <c:v>15.384615384615385</c:v>
                </c:pt>
                <c:pt idx="2">
                  <c:v>16.949152542372879</c:v>
                </c:pt>
                <c:pt idx="3">
                  <c:v>25.280898876404489</c:v>
                </c:pt>
                <c:pt idx="4">
                  <c:v>27.7027027027026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A2B7-4FEB-841E-D72DBA0C017A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2B7-4FEB-841E-D72DBA0C017A}"/>
                </c:ext>
              </c:extLst>
            </c:dLbl>
            <c:dLbl>
              <c:idx val="2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2B7-4FEB-841E-D72DBA0C017A}"/>
                </c:ext>
              </c:extLst>
            </c:dLbl>
            <c:dLbl>
              <c:idx val="3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2B7-4FEB-841E-D72DBA0C017A}"/>
                </c:ext>
              </c:extLst>
            </c:dLbl>
            <c:dLbl>
              <c:idx val="4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2B7-4FEB-841E-D72DBA0C017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4.7051442910915897</c:v>
                </c:pt>
                <c:pt idx="1">
                  <c:v>11.538461538461542</c:v>
                </c:pt>
                <c:pt idx="2">
                  <c:v>12.429378531073443</c:v>
                </c:pt>
                <c:pt idx="3">
                  <c:v>15.168539325842701</c:v>
                </c:pt>
                <c:pt idx="4">
                  <c:v>22.297297297297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A2B7-4FEB-841E-D72DBA0C017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617182736"/>
        <c:axId val="1"/>
      </c:barChart>
      <c:catAx>
        <c:axId val="617182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617182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28781750525804E-3"/>
          <c:y val="2.8792912513842746E-2"/>
          <c:w val="0.98317424364989481"/>
          <c:h val="0.94241417497231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EF8-43AA-A343-9C9A6E7828B6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EF8-43AA-A343-9C9A6E7828B6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EF8-43AA-A343-9C9A6E7828B6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00</c:v>
                </c:pt>
                <c:pt idx="1">
                  <c:v>180</c:v>
                </c:pt>
                <c:pt idx="2">
                  <c:v>60</c:v>
                </c:pt>
                <c:pt idx="3">
                  <c:v>98</c:v>
                </c:pt>
                <c:pt idx="4">
                  <c:v>58</c:v>
                </c:pt>
                <c:pt idx="5">
                  <c:v>30</c:v>
                </c:pt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EF8-43AA-A343-9C9A6E7828B6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7EF8-43AA-A343-9C9A6E7828B6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7EF8-43AA-A343-9C9A6E7828B6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700</c:v>
                </c:pt>
                <c:pt idx="1">
                  <c:v>215</c:v>
                </c:pt>
                <c:pt idx="2">
                  <c:v>90</c:v>
                </c:pt>
                <c:pt idx="3">
                  <c:v>120</c:v>
                </c:pt>
                <c:pt idx="4">
                  <c:v>255</c:v>
                </c:pt>
                <c:pt idx="5">
                  <c:v>270</c:v>
                </c:pt>
                <c:pt idx="6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EF8-43AA-A343-9C9A6E7828B6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7EF8-43AA-A343-9C9A6E7828B6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7EF8-43AA-A343-9C9A6E7828B6}"/>
              </c:ext>
            </c:extLst>
          </c:dPt>
          <c:val>
            <c:numRef>
              <c:f>Sheet1!$A$3:$G$3</c:f>
              <c:numCache>
                <c:formatCode>General</c:formatCode>
                <c:ptCount val="7"/>
                <c:pt idx="0">
                  <c:v>700</c:v>
                </c:pt>
                <c:pt idx="1">
                  <c:v>190</c:v>
                </c:pt>
                <c:pt idx="2">
                  <c:v>70</c:v>
                </c:pt>
                <c:pt idx="3">
                  <c:v>130</c:v>
                </c:pt>
                <c:pt idx="4">
                  <c:v>240</c:v>
                </c:pt>
                <c:pt idx="5">
                  <c:v>280</c:v>
                </c:pt>
                <c:pt idx="6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7EF8-43AA-A343-9C9A6E7828B6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7EF8-43AA-A343-9C9A6E7828B6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7EF8-43AA-A343-9C9A6E7828B6}"/>
              </c:ext>
            </c:extLst>
          </c:dPt>
          <c:val>
            <c:numRef>
              <c:f>Sheet1!$A$4:$G$4</c:f>
              <c:numCache>
                <c:formatCode>General</c:formatCode>
                <c:ptCount val="7"/>
                <c:pt idx="0">
                  <c:v>1350</c:v>
                </c:pt>
                <c:pt idx="1">
                  <c:v>270</c:v>
                </c:pt>
                <c:pt idx="2">
                  <c:v>135</c:v>
                </c:pt>
                <c:pt idx="3">
                  <c:v>135</c:v>
                </c:pt>
                <c:pt idx="4">
                  <c:v>135</c:v>
                </c:pt>
                <c:pt idx="5">
                  <c:v>980</c:v>
                </c:pt>
                <c:pt idx="6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7EF8-43AA-A343-9C9A6E7828B6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7EF8-43AA-A343-9C9A6E7828B6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7EF8-43AA-A343-9C9A6E7828B6}"/>
              </c:ext>
            </c:extLst>
          </c:dPt>
          <c:val>
            <c:numRef>
              <c:f>Sheet1!$A$5:$G$5</c:f>
              <c:numCache>
                <c:formatCode>General</c:formatCode>
                <c:ptCount val="7"/>
                <c:pt idx="0">
                  <c:v>1350</c:v>
                </c:pt>
                <c:pt idx="1">
                  <c:v>280</c:v>
                </c:pt>
                <c:pt idx="2">
                  <c:v>95</c:v>
                </c:pt>
                <c:pt idx="3">
                  <c:v>190</c:v>
                </c:pt>
                <c:pt idx="4">
                  <c:v>155</c:v>
                </c:pt>
                <c:pt idx="5">
                  <c:v>970</c:v>
                </c:pt>
                <c:pt idx="6">
                  <c:v>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7EF8-43AA-A343-9C9A6E7828B6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7EF8-43AA-A343-9C9A6E7828B6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7EF8-43AA-A343-9C9A6E7828B6}"/>
              </c:ext>
            </c:extLst>
          </c:dPt>
          <c:val>
            <c:numRef>
              <c:f>Sheet1!$A$6:$G$6</c:f>
              <c:numCache>
                <c:formatCode>General</c:formatCode>
                <c:ptCount val="7"/>
                <c:pt idx="0">
                  <c:v>2500</c:v>
                </c:pt>
                <c:pt idx="1">
                  <c:v>350</c:v>
                </c:pt>
                <c:pt idx="2">
                  <c:v>500</c:v>
                </c:pt>
                <c:pt idx="3">
                  <c:v>15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7EF8-43AA-A343-9C9A6E7828B6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7EF8-43AA-A343-9C9A6E7828B6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7EF8-43AA-A343-9C9A6E7828B6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2400</c:v>
                </c:pt>
                <c:pt idx="1">
                  <c:v>0</c:v>
                </c:pt>
                <c:pt idx="2">
                  <c:v>94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7EF8-43AA-A343-9C9A6E7828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7282736"/>
        <c:axId val="1"/>
      </c:barChart>
      <c:catAx>
        <c:axId val="11472827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4728273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57991644747023E-3"/>
          <c:y val="8.2433758586849856E-2"/>
          <c:w val="0.9839084016710506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20C-4907-8511-0964E26B1E0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20C-4907-8511-0964E26B1E0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20C-4907-8511-0964E26B1E0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20C-4907-8511-0964E26B1E0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020C-4907-8511-0964E26B1E0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20C-4907-8511-0964E26B1E0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20C-4907-8511-0964E26B1E0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020C-4907-8511-0964E26B1E0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20C-4907-8511-0964E26B1E0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34.615384615384613</c:v>
                </c:pt>
                <c:pt idx="2">
                  <c:v>21.428571428571427</c:v>
                </c:pt>
                <c:pt idx="3">
                  <c:v>31.25</c:v>
                </c:pt>
                <c:pt idx="4">
                  <c:v>16.666666666666664</c:v>
                </c:pt>
                <c:pt idx="5">
                  <c:v>7.1428571428571423</c:v>
                </c:pt>
                <c:pt idx="6">
                  <c:v>8.3333333333333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020C-4907-8511-0964E26B1E07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20C-4907-8511-0964E26B1E07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020C-4907-8511-0964E26B1E07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19.23076923076923</c:v>
                </c:pt>
                <c:pt idx="2">
                  <c:v>14.285714285714283</c:v>
                </c:pt>
                <c:pt idx="3">
                  <c:v>18.75</c:v>
                </c:pt>
                <c:pt idx="4">
                  <c:v>33.333333333333336</c:v>
                </c:pt>
                <c:pt idx="5">
                  <c:v>14.285714285714285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20C-4907-8511-0964E26B1E07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020C-4907-8511-0964E26B1E07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020C-4907-8511-0964E26B1E0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020C-4907-8511-0964E26B1E0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020C-4907-8511-0964E26B1E0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020C-4907-8511-0964E26B1E0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020C-4907-8511-0964E26B1E0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020C-4907-8511-0964E26B1E0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020C-4907-8511-0964E26B1E0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.000000000000004</c:v>
                </c:pt>
                <c:pt idx="1">
                  <c:v>19.23076923076923</c:v>
                </c:pt>
                <c:pt idx="2">
                  <c:v>14.285714285714285</c:v>
                </c:pt>
                <c:pt idx="3">
                  <c:v>25</c:v>
                </c:pt>
                <c:pt idx="4">
                  <c:v>33.333333333333329</c:v>
                </c:pt>
                <c:pt idx="5">
                  <c:v>21.428571428571427</c:v>
                </c:pt>
                <c:pt idx="6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20C-4907-8511-0964E26B1E07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020C-4907-8511-0964E26B1E07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020C-4907-8511-0964E26B1E07}"/>
              </c:ext>
            </c:extLst>
          </c:dPt>
          <c:dLbls>
            <c:dLbl>
              <c:idx val="3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020C-4907-8511-0964E26B1E07}"/>
                </c:ext>
              </c:extLst>
            </c:dLbl>
            <c:dLbl>
              <c:idx val="4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020C-4907-8511-0964E26B1E0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020C-4907-8511-0964E26B1E07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7.6923076923076987</c:v>
                </c:pt>
                <c:pt idx="2">
                  <c:v>7.142857142857145</c:v>
                </c:pt>
                <c:pt idx="3">
                  <c:v>6.25</c:v>
                </c:pt>
                <c:pt idx="4">
                  <c:v>5.555555555555558</c:v>
                </c:pt>
                <c:pt idx="5">
                  <c:v>42.857142857142854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020C-4907-8511-0964E26B1E07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020C-4907-8511-0964E26B1E07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020C-4907-8511-0964E26B1E0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020C-4907-8511-0964E26B1E0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020C-4907-8511-0964E26B1E0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020C-4907-8511-0964E26B1E07}"/>
                </c:ext>
              </c:extLst>
            </c:dLbl>
            <c:dLbl>
              <c:idx val="3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020C-4907-8511-0964E26B1E07}"/>
                </c:ext>
              </c:extLst>
            </c:dLbl>
            <c:dLbl>
              <c:idx val="4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020C-4907-8511-0964E26B1E07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020C-4907-8511-0964E26B1E0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11.538461538461542</c:v>
                </c:pt>
                <c:pt idx="2">
                  <c:v>7.1428571428571397</c:v>
                </c:pt>
                <c:pt idx="3">
                  <c:v>12.5</c:v>
                </c:pt>
                <c:pt idx="4">
                  <c:v>11.111111111111116</c:v>
                </c:pt>
                <c:pt idx="5">
                  <c:v>14.28571428571429</c:v>
                </c:pt>
                <c:pt idx="6">
                  <c:v>8.3333333333333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020C-4907-8511-0964E26B1E07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020C-4907-8511-0964E26B1E07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020C-4907-8511-0964E26B1E07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020C-4907-8511-0964E26B1E0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020C-4907-8511-0964E26B1E0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020C-4907-8511-0964E26B1E0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.000000000000002</c:v>
                </c:pt>
                <c:pt idx="1">
                  <c:v>7.6923076923076872</c:v>
                </c:pt>
                <c:pt idx="2">
                  <c:v>21.428571428571431</c:v>
                </c:pt>
                <c:pt idx="3">
                  <c:v>6.2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020C-4907-8511-0964E26B1E07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020C-4907-8511-0964E26B1E07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020C-4907-8511-0964E26B1E07}"/>
              </c:ext>
            </c:extLst>
          </c:dPt>
          <c:dLbls>
            <c:dLbl>
              <c:idx val="0"/>
              <c:layout>
                <c:manualLayout>
                  <c:x val="5.5856413430295529E-2"/>
                  <c:y val="6.8694798822374874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020C-4907-8511-0964E26B1E0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020C-4907-8511-0964E26B1E0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4.9999999999999929</c:v>
                </c:pt>
                <c:pt idx="1">
                  <c:v>0</c:v>
                </c:pt>
                <c:pt idx="2">
                  <c:v>14.2857142857142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020C-4907-8511-0964E26B1E0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5118015"/>
        <c:axId val="1"/>
      </c:barChart>
      <c:catAx>
        <c:axId val="212511801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12511801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56667722521381E-3"/>
          <c:y val="8.2433758586849856E-2"/>
          <c:w val="0.9835286664554957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15A-43BD-A42A-B727B7F1A9CD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15A-43BD-A42A-B727B7F1A9CD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15A-43BD-A42A-B727B7F1A9C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15A-43BD-A42A-B727B7F1A9CD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1.5210991167811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15A-43BD-A42A-B727B7F1A9CD}"/>
                </c:ext>
              </c:extLst>
            </c:dLbl>
            <c:dLbl>
              <c:idx val="4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15A-43BD-A42A-B727B7F1A9CD}"/>
                </c:ext>
              </c:extLst>
            </c:dLbl>
            <c:dLbl>
              <c:idx val="5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15A-43BD-A42A-B727B7F1A9CD}"/>
                </c:ext>
              </c:extLst>
            </c:dLbl>
            <c:dLbl>
              <c:idx val="6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9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15A-43BD-A42A-B727B7F1A9CD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415A-43BD-A42A-B727B7F1A9CD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415A-43BD-A42A-B727B7F1A9CD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5.64278704612365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5.93719332679097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3.82728164867517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15A-43BD-A42A-B727B7F1A9CD}"/>
                </c:ext>
              </c:extLst>
            </c:dLbl>
            <c:dLbl>
              <c:idx val="4"/>
              <c:layout>
                <c:manualLayout>
                  <c:x val="4.7355083940449794E-2"/>
                  <c:y val="-4.2688910696761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15A-43BD-A42A-B727B7F1A9CD}"/>
                </c:ext>
              </c:extLst>
            </c:dLbl>
            <c:dLbl>
              <c:idx val="5"/>
              <c:layout>
                <c:manualLayout>
                  <c:x val="4.7355083940449794E-2"/>
                  <c:y val="-7.605495583905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15A-43BD-A42A-B727B7F1A9CD}"/>
                </c:ext>
              </c:extLst>
            </c:dLbl>
            <c:dLbl>
              <c:idx val="6"/>
              <c:layout>
                <c:manualLayout>
                  <c:x val="4.7355083940449794E-2"/>
                  <c:y val="-7.16388616290480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6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15A-43BD-A42A-B727B7F1A9CD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415A-43BD-A42A-B727B7F1A9CD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415A-43BD-A42A-B727B7F1A9C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15A-43BD-A42A-B727B7F1A9CD}"/>
                </c:ext>
              </c:extLst>
            </c:dLbl>
            <c:dLbl>
              <c:idx val="1"/>
              <c:layout>
                <c:manualLayout>
                  <c:x val="4.7355083940449794E-2"/>
                  <c:y val="4.17075564278704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6.57507360157016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15A-43BD-A42A-B727B7F1A9CD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15A-43BD-A42A-B727B7F1A9CD}"/>
                </c:ext>
              </c:extLst>
            </c:dLbl>
            <c:dLbl>
              <c:idx val="5"/>
              <c:layout>
                <c:manualLayout>
                  <c:x val="4.7355083940449794E-2"/>
                  <c:y val="-0.111383709519136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15A-43BD-A42A-B727B7F1A9CD}"/>
                </c:ext>
              </c:extLst>
            </c:dLbl>
            <c:dLbl>
              <c:idx val="6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15A-43BD-A42A-B727B7F1A9CD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415A-43BD-A42A-B727B7F1A9CD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415A-43BD-A42A-B727B7F1A9CD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1.4229636898920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0.101079489695780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15A-43BD-A42A-B727B7F1A9CD}"/>
                </c:ext>
              </c:extLst>
            </c:dLbl>
            <c:dLbl>
              <c:idx val="4"/>
              <c:layout>
                <c:manualLayout>
                  <c:x val="4.7355083940449794E-2"/>
                  <c:y val="-1.96270853778213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415A-43BD-A42A-B727B7F1A9CD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15A-43BD-A42A-B727B7F1A9CD}"/>
                </c:ext>
              </c:extLst>
            </c:dLbl>
            <c:dLbl>
              <c:idx val="6"/>
              <c:layout>
                <c:manualLayout>
                  <c:x val="4.7355083940449794E-2"/>
                  <c:y val="-0.126104023552502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415A-43BD-A42A-B727B7F1A9CD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415A-43BD-A42A-B727B7F1A9CD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415A-43BD-A42A-B727B7F1A9CD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415A-43BD-A42A-B727B7F1A9CD}"/>
                </c:ext>
              </c:extLst>
            </c:dLbl>
            <c:dLbl>
              <c:idx val="1"/>
              <c:layout>
                <c:manualLayout>
                  <c:x val="4.7355083940449794E-2"/>
                  <c:y val="-2.1099116781157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0.13444553483807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0.14524043179587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415A-43BD-A42A-B727B7F1A9CD}"/>
                </c:ext>
              </c:extLst>
            </c:dLbl>
            <c:dLbl>
              <c:idx val="4"/>
              <c:layout>
                <c:manualLayout>
                  <c:x val="4.7355083940449794E-2"/>
                  <c:y val="-6.3788027477919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415A-43BD-A42A-B727B7F1A9CD}"/>
                </c:ext>
              </c:extLst>
            </c:dLbl>
            <c:dLbl>
              <c:idx val="5"/>
              <c:layout>
                <c:manualLayout>
                  <c:x val="4.7355083940449794E-2"/>
                  <c:y val="-9.71540726202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415A-43BD-A42A-B727B7F1A9CD}"/>
                </c:ext>
              </c:extLst>
            </c:dLbl>
            <c:dLbl>
              <c:idx val="6"/>
              <c:layout>
                <c:manualLayout>
                  <c:x val="4.7355083940449794E-2"/>
                  <c:y val="-0.165848871442590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415A-43BD-A42A-B727B7F1A9CD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415A-43BD-A42A-B727B7F1A9CD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415A-43BD-A42A-B727B7F1A9CD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415A-43BD-A42A-B727B7F1A9CD}"/>
                </c:ext>
              </c:extLst>
            </c:dLbl>
            <c:dLbl>
              <c:idx val="1"/>
              <c:layout>
                <c:manualLayout>
                  <c:x val="4.7355083940449794E-2"/>
                  <c:y val="-5.69185475956820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0.174190382728164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415A-43BD-A42A-B727B7F1A9CD}"/>
                </c:ext>
              </c:extLst>
            </c:dLbl>
            <c:dLbl>
              <c:idx val="3"/>
              <c:layout>
                <c:manualLayout>
                  <c:x val="4.7355083940449794E-2"/>
                  <c:y val="-0.18891069676153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415A-43BD-A42A-B727B7F1A9CD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C-415A-43BD-A42A-B727B7F1A9CD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D-415A-43BD-A42A-B727B7F1A9CD}"/>
              </c:ext>
            </c:extLst>
          </c:dPt>
          <c:dLbls>
            <c:dLbl>
              <c:idx val="0"/>
              <c:layout>
                <c:manualLayout>
                  <c:x val="4.7355083940449794E-2"/>
                  <c:y val="6.86947988223748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415A-43BD-A42A-B727B7F1A9CD}"/>
                </c:ext>
              </c:extLst>
            </c:dLbl>
            <c:dLbl>
              <c:idx val="2"/>
              <c:layout>
                <c:manualLayout>
                  <c:x val="4.7355083940449794E-2"/>
                  <c:y val="-0.210009813542688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415A-43BD-A42A-B727B7F1A9C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5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415A-43BD-A42A-B727B7F1A9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0860640"/>
        <c:axId val="1"/>
      </c:barChart>
      <c:catAx>
        <c:axId val="175086064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086064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8.2433758586849856E-2"/>
          <c:w val="0.9845628618079264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C76-45B0-9D06-FF82371747E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C76-45B0-9D06-FF82371747EF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C76-45B0-9D06-FF82371747EF}"/>
              </c:ext>
            </c:extLst>
          </c:dPt>
          <c:dLbls>
            <c:dLbl>
              <c:idx val="0"/>
              <c:layout>
                <c:manualLayout>
                  <c:x val="5.5217455840878726E-2"/>
                  <c:y val="-1.6683022571148183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C76-45B0-9D06-FF82371747E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C76-45B0-9D06-FF82371747EF}"/>
                </c:ext>
              </c:extLst>
            </c:dLbl>
            <c:dLbl>
              <c:idx val="2"/>
              <c:layout>
                <c:manualLayout>
                  <c:x val="5.5217455840878726E-2"/>
                  <c:y val="-2.109911678115799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C76-45B0-9D06-FF82371747E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C76-45B0-9D06-FF82371747E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C76-45B0-9D06-FF82371747EF}"/>
                </c:ext>
              </c:extLst>
            </c:dLbl>
            <c:dLbl>
              <c:idx val="5"/>
              <c:layout>
                <c:manualLayout>
                  <c:x val="5.5217455840878726E-2"/>
                  <c:y val="-2.99313052011776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C76-45B0-9D06-FF82371747EF}"/>
                </c:ext>
              </c:extLst>
            </c:dLbl>
            <c:dLbl>
              <c:idx val="6"/>
              <c:layout>
                <c:manualLayout>
                  <c:x val="5.5217455840878726E-2"/>
                  <c:y val="-2.74779195289499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7297297297297298</c:v>
                </c:pt>
                <c:pt idx="1">
                  <c:v>12.57606490872211</c:v>
                </c:pt>
                <c:pt idx="2">
                  <c:v>3.6777583187390541</c:v>
                </c:pt>
                <c:pt idx="3">
                  <c:v>12.323943661971832</c:v>
                </c:pt>
                <c:pt idx="4">
                  <c:v>7.3684210526315779</c:v>
                </c:pt>
                <c:pt idx="5">
                  <c:v>1.5503875968992249</c:v>
                </c:pt>
                <c:pt idx="6">
                  <c:v>2.157738095238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C76-45B0-9D06-FF82371747EF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C76-45B0-9D06-FF82371747EF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3C76-45B0-9D06-FF82371747EF}"/>
              </c:ext>
            </c:extLst>
          </c:dPt>
          <c:dLbls>
            <c:dLbl>
              <c:idx val="2"/>
              <c:layout>
                <c:manualLayout>
                  <c:x val="5.5217455840878726E-2"/>
                  <c:y val="-4.023552502453385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.1081081081081106</c:v>
                </c:pt>
                <c:pt idx="1">
                  <c:v>15.212981744421908</c:v>
                </c:pt>
                <c:pt idx="2">
                  <c:v>5.2539404553415059</c:v>
                </c:pt>
                <c:pt idx="3">
                  <c:v>15.845070422535217</c:v>
                </c:pt>
                <c:pt idx="4">
                  <c:v>31.578947368421051</c:v>
                </c:pt>
                <c:pt idx="5">
                  <c:v>7.7519379844961236</c:v>
                </c:pt>
                <c:pt idx="6">
                  <c:v>16.7410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C76-45B0-9D06-FF82371747EF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3C76-45B0-9D06-FF82371747EF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3C76-45B0-9D06-FF82371747EF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C76-45B0-9D06-FF82371747EF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C76-45B0-9D06-FF82371747EF}"/>
                </c:ext>
              </c:extLst>
            </c:dLbl>
            <c:dLbl>
              <c:idx val="2"/>
              <c:layout>
                <c:manualLayout>
                  <c:x val="5.5217455840878726E-2"/>
                  <c:y val="-5.6918547595682038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3C76-45B0-9D06-FF82371747E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C76-45B0-9D06-FF82371747E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3C76-45B0-9D06-FF82371747EF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C76-45B0-9D06-FF82371747EF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8.1081081081081088</c:v>
                </c:pt>
                <c:pt idx="1">
                  <c:v>12.981744421906694</c:v>
                </c:pt>
                <c:pt idx="2">
                  <c:v>4.2031523642732047</c:v>
                </c:pt>
                <c:pt idx="3">
                  <c:v>15.492957746478876</c:v>
                </c:pt>
                <c:pt idx="4">
                  <c:v>28.771929824561404</c:v>
                </c:pt>
                <c:pt idx="5">
                  <c:v>14.470284237726098</c:v>
                </c:pt>
                <c:pt idx="6">
                  <c:v>26.041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C76-45B0-9D06-FF82371747EF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3C76-45B0-9D06-FF82371747EF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3C76-45B0-9D06-FF82371747EF}"/>
              </c:ext>
            </c:extLst>
          </c:dPt>
          <c:dLbls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3C76-45B0-9D06-FF82371747EF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0.135135135135137</c:v>
                </c:pt>
                <c:pt idx="1">
                  <c:v>12.170385395537526</c:v>
                </c:pt>
                <c:pt idx="2">
                  <c:v>5.253940455341505</c:v>
                </c:pt>
                <c:pt idx="3">
                  <c:v>10.563380281690138</c:v>
                </c:pt>
                <c:pt idx="4">
                  <c:v>10.526315789473683</c:v>
                </c:pt>
                <c:pt idx="5">
                  <c:v>41.343669250645988</c:v>
                </c:pt>
                <c:pt idx="6">
                  <c:v>30.50595238095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C76-45B0-9D06-FF82371747EF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3C76-45B0-9D06-FF82371747EF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3C76-45B0-9D06-FF82371747EF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3C76-45B0-9D06-FF82371747EF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3C76-45B0-9D06-FF82371747E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3C76-45B0-9D06-FF82371747E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3C76-45B0-9D06-FF82371747EF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3C76-45B0-9D06-FF82371747EF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3C76-45B0-9D06-FF82371747EF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8.918918918918916</c:v>
                </c:pt>
                <c:pt idx="1">
                  <c:v>22.718052738336713</c:v>
                </c:pt>
                <c:pt idx="2">
                  <c:v>6.6549912434325726</c:v>
                </c:pt>
                <c:pt idx="3">
                  <c:v>26.760563380281688</c:v>
                </c:pt>
                <c:pt idx="4">
                  <c:v>21.754385964912281</c:v>
                </c:pt>
                <c:pt idx="5">
                  <c:v>34.883720930232563</c:v>
                </c:pt>
                <c:pt idx="6">
                  <c:v>24.55357142857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3C76-45B0-9D06-FF82371747EF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3C76-45B0-9D06-FF82371747EF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3C76-45B0-9D06-FF82371747EF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3C76-45B0-9D06-FF82371747EF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3C76-45B0-9D06-FF82371747E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3C76-45B0-9D06-FF82371747EF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7.702702702702698</c:v>
                </c:pt>
                <c:pt idx="1">
                  <c:v>24.340770791075052</c:v>
                </c:pt>
                <c:pt idx="2">
                  <c:v>28.721541155866898</c:v>
                </c:pt>
                <c:pt idx="3">
                  <c:v>19.014084507042249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3C76-45B0-9D06-FF82371747EF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3C76-45B0-9D06-FF82371747EF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3C76-45B0-9D06-FF82371747EF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3C76-45B0-9D06-FF82371747EF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3C76-45B0-9D06-FF82371747E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2.297297297297302</c:v>
                </c:pt>
                <c:pt idx="1">
                  <c:v>0</c:v>
                </c:pt>
                <c:pt idx="2">
                  <c:v>46.23467600700526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3C76-45B0-9D06-FF82371747E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0798000"/>
        <c:axId val="1"/>
      </c:barChart>
      <c:catAx>
        <c:axId val="17507980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07980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7.9432624113475181E-2"/>
          <c:w val="0.9845628618079264"/>
          <c:h val="0.8411347517730496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B29-4A3D-8E40-C721363E51A4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B29-4A3D-8E40-C721363E51A4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B29-4A3D-8E40-C721363E51A4}"/>
              </c:ext>
            </c:extLst>
          </c:dPt>
          <c:dLbls>
            <c:dLbl>
              <c:idx val="0"/>
              <c:layout>
                <c:manualLayout>
                  <c:x val="5.4772153777645834E-2"/>
                  <c:y val="-1.51300236406619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B29-4A3D-8E40-C721363E51A4}"/>
                </c:ext>
              </c:extLst>
            </c:dLbl>
            <c:dLbl>
              <c:idx val="1"/>
              <c:layout>
                <c:manualLayout>
                  <c:x val="5.4772153777645834E-2"/>
                  <c:y val="-2.60047281323877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B29-4A3D-8E40-C721363E51A4}"/>
                </c:ext>
              </c:extLst>
            </c:dLbl>
            <c:dLbl>
              <c:idx val="2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2.97872340425531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B29-4A3D-8E40-C721363E51A4}"/>
                </c:ext>
              </c:extLst>
            </c:dLbl>
            <c:dLbl>
              <c:idx val="4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B29-4A3D-8E40-C721363E51A4}"/>
                </c:ext>
              </c:extLst>
            </c:dLbl>
            <c:dLbl>
              <c:idx val="5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29-4A3D-8E40-C721363E51A4}"/>
                </c:ext>
              </c:extLst>
            </c:dLbl>
            <c:dLbl>
              <c:idx val="6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00</c:v>
                </c:pt>
                <c:pt idx="1">
                  <c:v>310</c:v>
                </c:pt>
                <c:pt idx="2">
                  <c:v>105</c:v>
                </c:pt>
                <c:pt idx="3">
                  <c:v>175</c:v>
                </c:pt>
                <c:pt idx="4">
                  <c:v>105</c:v>
                </c:pt>
                <c:pt idx="5">
                  <c:v>60</c:v>
                </c:pt>
                <c:pt idx="6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B29-4A3D-8E40-C721363E51A4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B29-4A3D-8E40-C721363E51A4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FB29-4A3D-8E40-C721363E51A4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6.14657210401891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FB29-4A3D-8E40-C721363E51A4}"/>
                </c:ext>
              </c:extLst>
            </c:dLbl>
            <c:dLbl>
              <c:idx val="2"/>
              <c:layout>
                <c:manualLayout>
                  <c:x val="5.4772153777645834E-2"/>
                  <c:y val="-7.89598108747044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B29-4A3D-8E40-C721363E51A4}"/>
                </c:ext>
              </c:extLst>
            </c:dLbl>
            <c:dLbl>
              <c:idx val="4"/>
              <c:layout>
                <c:manualLayout>
                  <c:x val="5.4772153777645834E-2"/>
                  <c:y val="-7.09219858156028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B29-4A3D-8E40-C721363E51A4}"/>
                </c:ext>
              </c:extLst>
            </c:dLbl>
            <c:dLbl>
              <c:idx val="5"/>
              <c:layout>
                <c:manualLayout>
                  <c:x val="5.4772153777645834E-2"/>
                  <c:y val="-7.754137115839243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FB29-4A3D-8E40-C721363E51A4}"/>
                </c:ext>
              </c:extLst>
            </c:dLbl>
            <c:dLbl>
              <c:idx val="6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200</c:v>
                </c:pt>
                <c:pt idx="1">
                  <c:v>375</c:v>
                </c:pt>
                <c:pt idx="2">
                  <c:v>150</c:v>
                </c:pt>
                <c:pt idx="3">
                  <c:v>225</c:v>
                </c:pt>
                <c:pt idx="4">
                  <c:v>450</c:v>
                </c:pt>
                <c:pt idx="5">
                  <c:v>300</c:v>
                </c:pt>
                <c:pt idx="6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B29-4A3D-8E40-C721363E51A4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FB29-4A3D-8E40-C721363E51A4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FB29-4A3D-8E40-C721363E51A4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9.6453900709219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B29-4A3D-8E40-C721363E51A4}"/>
                </c:ext>
              </c:extLst>
            </c:dLbl>
            <c:dLbl>
              <c:idx val="2"/>
              <c:layout>
                <c:manualLayout>
                  <c:x val="5.4772153777645834E-2"/>
                  <c:y val="-0.125768321513002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0.1148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FB29-4A3D-8E40-C721363E51A4}"/>
                </c:ext>
              </c:extLst>
            </c:dLbl>
            <c:dLbl>
              <c:idx val="4"/>
              <c:layout>
                <c:manualLayout>
                  <c:x val="5.4772153777645834E-2"/>
                  <c:y val="-0.101182033096926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FB29-4A3D-8E40-C721363E51A4}"/>
                </c:ext>
              </c:extLst>
            </c:dLbl>
            <c:dLbl>
              <c:idx val="5"/>
              <c:layout>
                <c:manualLayout>
                  <c:x val="5.4772153777645834E-2"/>
                  <c:y val="-0.107801418439716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B29-4A3D-8E40-C721363E51A4}"/>
                </c:ext>
              </c:extLst>
            </c:dLbl>
            <c:dLbl>
              <c:idx val="6"/>
              <c:layout>
                <c:manualLayout>
                  <c:x val="5.4772153777645834E-2"/>
                  <c:y val="-9.55082742316784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200</c:v>
                </c:pt>
                <c:pt idx="1">
                  <c:v>320</c:v>
                </c:pt>
                <c:pt idx="2">
                  <c:v>120</c:v>
                </c:pt>
                <c:pt idx="3">
                  <c:v>220</c:v>
                </c:pt>
                <c:pt idx="4">
                  <c:v>410</c:v>
                </c:pt>
                <c:pt idx="5">
                  <c:v>560</c:v>
                </c:pt>
                <c:pt idx="6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FB29-4A3D-8E40-C721363E51A4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FB29-4A3D-8E40-C721363E51A4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FB29-4A3D-8E40-C721363E51A4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33333333333333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0.158865248226950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FB29-4A3D-8E40-C721363E51A4}"/>
                </c:ext>
              </c:extLst>
            </c:dLbl>
            <c:dLbl>
              <c:idx val="4"/>
              <c:layout>
                <c:manualLayout>
                  <c:x val="5.4772153777645834E-2"/>
                  <c:y val="-0.13947990543735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FB29-4A3D-8E40-C721363E51A4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500</c:v>
                </c:pt>
                <c:pt idx="1">
                  <c:v>30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600</c:v>
                </c:pt>
                <c:pt idx="6">
                  <c:v>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FB29-4A3D-8E40-C721363E51A4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FB29-4A3D-8E40-C721363E51A4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FB29-4A3D-8E40-C721363E51A4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6359338061465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FB29-4A3D-8E40-C721363E51A4}"/>
                </c:ext>
              </c:extLst>
            </c:dLbl>
            <c:dLbl>
              <c:idx val="2"/>
              <c:layout>
                <c:manualLayout>
                  <c:x val="5.4772153777645834E-2"/>
                  <c:y val="-0.163120567375886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0.198581560283687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FB29-4A3D-8E40-C721363E51A4}"/>
                </c:ext>
              </c:extLst>
            </c:dLbl>
            <c:dLbl>
              <c:idx val="4"/>
              <c:layout>
                <c:manualLayout>
                  <c:x val="5.4772153777645834E-2"/>
                  <c:y val="-0.1810874704491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FB29-4A3D-8E40-C721363E51A4}"/>
                </c:ext>
              </c:extLst>
            </c:dLbl>
            <c:dLbl>
              <c:idx val="6"/>
              <c:layout>
                <c:manualLayout>
                  <c:x val="5.4772153777645834E-2"/>
                  <c:y val="-6.57210401891252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2800</c:v>
                </c:pt>
                <c:pt idx="1">
                  <c:v>560</c:v>
                </c:pt>
                <c:pt idx="2">
                  <c:v>190</c:v>
                </c:pt>
                <c:pt idx="3">
                  <c:v>380</c:v>
                </c:pt>
                <c:pt idx="4">
                  <c:v>310</c:v>
                </c:pt>
                <c:pt idx="5">
                  <c:v>1350</c:v>
                </c:pt>
                <c:pt idx="6">
                  <c:v>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FB29-4A3D-8E40-C721363E51A4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FB29-4A3D-8E40-C721363E51A4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FB29-4A3D-8E40-C721363E51A4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85342789598108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FB29-4A3D-8E40-C721363E51A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FB29-4A3D-8E40-C721363E51A4}"/>
                </c:ext>
              </c:extLst>
            </c:dLbl>
            <c:dLbl>
              <c:idx val="3"/>
              <c:layout>
                <c:manualLayout>
                  <c:x val="5.4772153777645834E-2"/>
                  <c:y val="-0.234515366430260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FB29-4A3D-8E40-C721363E51A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4100</c:v>
                </c:pt>
                <c:pt idx="1">
                  <c:v>600</c:v>
                </c:pt>
                <c:pt idx="2">
                  <c:v>820</c:v>
                </c:pt>
                <c:pt idx="3">
                  <c:v>27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FB29-4A3D-8E40-C721363E51A4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FB29-4A3D-8E40-C721363E51A4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FB29-4A3D-8E40-C721363E51A4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3300</c:v>
                </c:pt>
                <c:pt idx="1">
                  <c:v>0</c:v>
                </c:pt>
                <c:pt idx="2">
                  <c:v>132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FB29-4A3D-8E40-C721363E51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76570319"/>
        <c:axId val="1"/>
      </c:barChart>
      <c:catAx>
        <c:axId val="16765703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6765703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44662275999388E-3"/>
          <c:y val="8.2433758586849856E-2"/>
          <c:w val="0.98407106754480012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3EE-408B-A05E-68756BAE7B97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3EE-408B-A05E-68756BAE7B97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3EE-408B-A05E-68756BAE7B97}"/>
              </c:ext>
            </c:extLst>
          </c:dPt>
          <c:dLbls>
            <c:dLbl>
              <c:idx val="0"/>
              <c:layout>
                <c:manualLayout>
                  <c:x val="5.5598100781130338E-2"/>
                  <c:y val="-1.86457311089303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3EE-408B-A05E-68756BAE7B9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3EE-408B-A05E-68756BAE7B97}"/>
                </c:ext>
              </c:extLst>
            </c:dLbl>
            <c:dLbl>
              <c:idx val="2"/>
              <c:layout>
                <c:manualLayout>
                  <c:x val="5.5598100781130338E-2"/>
                  <c:y val="-2.306182531894013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3EE-408B-A05E-68756BAE7B9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3EE-408B-A05E-68756BAE7B9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33EE-408B-A05E-68756BAE7B97}"/>
                </c:ext>
              </c:extLst>
            </c:dLbl>
            <c:dLbl>
              <c:idx val="5"/>
              <c:layout>
                <c:manualLayout>
                  <c:x val="5.5598100781130338E-2"/>
                  <c:y val="-3.140333660451422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3EE-408B-A05E-68756BAE7B97}"/>
                </c:ext>
              </c:extLst>
            </c:dLbl>
            <c:dLbl>
              <c:idx val="6"/>
              <c:layout>
                <c:manualLayout>
                  <c:x val="5.5598100781130338E-2"/>
                  <c:y val="-3.0421982335623161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2553191489361701</c:v>
                </c:pt>
                <c:pt idx="1">
                  <c:v>12.121212121212121</c:v>
                </c:pt>
                <c:pt idx="2">
                  <c:v>3.1746031746031753</c:v>
                </c:pt>
                <c:pt idx="3">
                  <c:v>11.835748792270531</c:v>
                </c:pt>
                <c:pt idx="4">
                  <c:v>6.8801897983392646</c:v>
                </c:pt>
                <c:pt idx="5">
                  <c:v>1.1857707509881421</c:v>
                </c:pt>
                <c:pt idx="6">
                  <c:v>1.466992665036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3EE-408B-A05E-68756BAE7B97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3EE-408B-A05E-68756BAE7B97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33EE-408B-A05E-68756BAE7B97}"/>
              </c:ext>
            </c:extLst>
          </c:dPt>
          <c:dLbls>
            <c:dLbl>
              <c:idx val="2"/>
              <c:layout>
                <c:manualLayout>
                  <c:x val="5.5598100781130338E-2"/>
                  <c:y val="-4.6123650637880272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4.478114478114479</c:v>
                </c:pt>
                <c:pt idx="2">
                  <c:v>4.7619047619047628</c:v>
                </c:pt>
                <c:pt idx="3">
                  <c:v>14.492753623188406</c:v>
                </c:pt>
                <c:pt idx="4">
                  <c:v>30.2491103202847</c:v>
                </c:pt>
                <c:pt idx="5">
                  <c:v>10.671936758893279</c:v>
                </c:pt>
                <c:pt idx="6">
                  <c:v>19.804400977995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3EE-408B-A05E-68756BAE7B97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33EE-408B-A05E-68756BAE7B97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33EE-408B-A05E-68756BAE7B9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33EE-408B-A05E-68756BAE7B97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33EE-408B-A05E-68756BAE7B97}"/>
                </c:ext>
              </c:extLst>
            </c:dLbl>
            <c:dLbl>
              <c:idx val="2"/>
              <c:layout>
                <c:manualLayout>
                  <c:x val="5.5598100781130338E-2"/>
                  <c:y val="-6.7222767419038279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33EE-408B-A05E-68756BAE7B9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3EE-408B-A05E-68756BAE7B9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33EE-408B-A05E-68756BAE7B9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33EE-408B-A05E-68756BAE7B9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2.794612794612792</c:v>
                </c:pt>
                <c:pt idx="2">
                  <c:v>3.7037037037037051</c:v>
                </c:pt>
                <c:pt idx="3">
                  <c:v>15.700483091787437</c:v>
                </c:pt>
                <c:pt idx="4">
                  <c:v>28.469750889679712</c:v>
                </c:pt>
                <c:pt idx="5">
                  <c:v>11.06719367588933</c:v>
                </c:pt>
                <c:pt idx="6">
                  <c:v>17.114914425427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33EE-408B-A05E-68756BAE7B97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33EE-408B-A05E-68756BAE7B97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33EE-408B-A05E-68756BAE7B97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33EE-408B-A05E-68756BAE7B9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181818181818176</c:v>
                </c:pt>
                <c:pt idx="2">
                  <c:v>7.1428571428571423</c:v>
                </c:pt>
                <c:pt idx="3">
                  <c:v>16.30434782608695</c:v>
                </c:pt>
                <c:pt idx="4">
                  <c:v>16.014234875444842</c:v>
                </c:pt>
                <c:pt idx="5">
                  <c:v>38.735177865612648</c:v>
                </c:pt>
                <c:pt idx="6">
                  <c:v>24.44987775061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3EE-408B-A05E-68756BAE7B97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33EE-408B-A05E-68756BAE7B97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33EE-408B-A05E-68756BAE7B9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33EE-408B-A05E-68756BAE7B97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33EE-408B-A05E-68756BAE7B97}"/>
                </c:ext>
              </c:extLst>
            </c:dLbl>
            <c:dLbl>
              <c:idx val="2"/>
              <c:layout>
                <c:manualLayout>
                  <c:x val="5.5598100781130338E-2"/>
                  <c:y val="-2.796859666339548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33EE-408B-A05E-68756BAE7B9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33EE-408B-A05E-68756BAE7B97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33EE-408B-A05E-68756BAE7B97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33EE-408B-A05E-68756BAE7B97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855218855218858</c:v>
                </c:pt>
                <c:pt idx="2">
                  <c:v>5.0264550264550261</c:v>
                </c:pt>
                <c:pt idx="3">
                  <c:v>22.946859903381643</c:v>
                </c:pt>
                <c:pt idx="4">
                  <c:v>18.386714116251479</c:v>
                </c:pt>
                <c:pt idx="5">
                  <c:v>38.339920948616601</c:v>
                </c:pt>
                <c:pt idx="6">
                  <c:v>37.163814180929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33EE-408B-A05E-68756BAE7B97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33EE-408B-A05E-68756BAE7B97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33EE-408B-A05E-68756BAE7B9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33EE-408B-A05E-68756BAE7B97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33EE-408B-A05E-68756BAE7B97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33EE-408B-A05E-68756BAE7B97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6.59574468085107</c:v>
                </c:pt>
                <c:pt idx="1">
                  <c:v>23.569023569023571</c:v>
                </c:pt>
                <c:pt idx="2">
                  <c:v>26.455026455026452</c:v>
                </c:pt>
                <c:pt idx="3">
                  <c:v>18.719806763285028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33EE-408B-A05E-68756BAE7B97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33EE-408B-A05E-68756BAE7B97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33EE-408B-A05E-68756BAE7B97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33EE-408B-A05E-68756BAE7B97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33EE-408B-A05E-68756BAE7B97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5.531914893617014</c:v>
                </c:pt>
                <c:pt idx="1">
                  <c:v>0</c:v>
                </c:pt>
                <c:pt idx="2">
                  <c:v>49.73544973544973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33EE-408B-A05E-68756BAE7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750649520"/>
        <c:axId val="1"/>
      </c:barChart>
      <c:catAx>
        <c:axId val="17506495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7506495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28781750525804E-3"/>
          <c:y val="2.8792912513842746E-2"/>
          <c:w val="0.98317424364989481"/>
          <c:h val="0.94241417497231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9CE-4EC0-93E2-3F3E37D770E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9CE-4EC0-93E2-3F3E37D770E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09CE-4EC0-93E2-3F3E37D770EE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00</c:v>
                </c:pt>
                <c:pt idx="1">
                  <c:v>180</c:v>
                </c:pt>
                <c:pt idx="2">
                  <c:v>60</c:v>
                </c:pt>
                <c:pt idx="3">
                  <c:v>98</c:v>
                </c:pt>
                <c:pt idx="4">
                  <c:v>58</c:v>
                </c:pt>
                <c:pt idx="5">
                  <c:v>30</c:v>
                </c:pt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09CE-4EC0-93E2-3F3E37D770EE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9CE-4EC0-93E2-3F3E37D770EE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09CE-4EC0-93E2-3F3E37D770EE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700</c:v>
                </c:pt>
                <c:pt idx="1">
                  <c:v>215</c:v>
                </c:pt>
                <c:pt idx="2">
                  <c:v>90</c:v>
                </c:pt>
                <c:pt idx="3">
                  <c:v>120</c:v>
                </c:pt>
                <c:pt idx="4">
                  <c:v>255</c:v>
                </c:pt>
                <c:pt idx="5">
                  <c:v>270</c:v>
                </c:pt>
                <c:pt idx="6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9CE-4EC0-93E2-3F3E37D770EE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09CE-4EC0-93E2-3F3E37D770EE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09CE-4EC0-93E2-3F3E37D770EE}"/>
              </c:ext>
            </c:extLst>
          </c:dPt>
          <c:val>
            <c:numRef>
              <c:f>Sheet1!$A$3:$G$3</c:f>
              <c:numCache>
                <c:formatCode>General</c:formatCode>
                <c:ptCount val="7"/>
                <c:pt idx="0">
                  <c:v>700</c:v>
                </c:pt>
                <c:pt idx="1">
                  <c:v>190</c:v>
                </c:pt>
                <c:pt idx="2">
                  <c:v>70</c:v>
                </c:pt>
                <c:pt idx="3">
                  <c:v>130</c:v>
                </c:pt>
                <c:pt idx="4">
                  <c:v>240</c:v>
                </c:pt>
                <c:pt idx="5">
                  <c:v>280</c:v>
                </c:pt>
                <c:pt idx="6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09CE-4EC0-93E2-3F3E37D770EE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09CE-4EC0-93E2-3F3E37D770EE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09CE-4EC0-93E2-3F3E37D770EE}"/>
              </c:ext>
            </c:extLst>
          </c:dPt>
          <c:val>
            <c:numRef>
              <c:f>Sheet1!$A$4:$G$4</c:f>
              <c:numCache>
                <c:formatCode>General</c:formatCode>
                <c:ptCount val="7"/>
                <c:pt idx="0">
                  <c:v>1350</c:v>
                </c:pt>
                <c:pt idx="1">
                  <c:v>270</c:v>
                </c:pt>
                <c:pt idx="2">
                  <c:v>135</c:v>
                </c:pt>
                <c:pt idx="3">
                  <c:v>135</c:v>
                </c:pt>
                <c:pt idx="4">
                  <c:v>135</c:v>
                </c:pt>
                <c:pt idx="5">
                  <c:v>980</c:v>
                </c:pt>
                <c:pt idx="6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09CE-4EC0-93E2-3F3E37D770EE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09CE-4EC0-93E2-3F3E37D770EE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09CE-4EC0-93E2-3F3E37D770EE}"/>
              </c:ext>
            </c:extLst>
          </c:dPt>
          <c:val>
            <c:numRef>
              <c:f>Sheet1!$A$5:$G$5</c:f>
              <c:numCache>
                <c:formatCode>General</c:formatCode>
                <c:ptCount val="7"/>
                <c:pt idx="0">
                  <c:v>1350</c:v>
                </c:pt>
                <c:pt idx="1">
                  <c:v>280</c:v>
                </c:pt>
                <c:pt idx="2">
                  <c:v>95</c:v>
                </c:pt>
                <c:pt idx="3">
                  <c:v>190</c:v>
                </c:pt>
                <c:pt idx="4">
                  <c:v>155</c:v>
                </c:pt>
                <c:pt idx="5">
                  <c:v>970</c:v>
                </c:pt>
                <c:pt idx="6">
                  <c:v>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09CE-4EC0-93E2-3F3E37D770EE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09CE-4EC0-93E2-3F3E37D770EE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09CE-4EC0-93E2-3F3E37D770EE}"/>
              </c:ext>
            </c:extLst>
          </c:dPt>
          <c:val>
            <c:numRef>
              <c:f>Sheet1!$A$6:$G$6</c:f>
              <c:numCache>
                <c:formatCode>General</c:formatCode>
                <c:ptCount val="7"/>
                <c:pt idx="0">
                  <c:v>2500</c:v>
                </c:pt>
                <c:pt idx="1">
                  <c:v>350</c:v>
                </c:pt>
                <c:pt idx="2">
                  <c:v>500</c:v>
                </c:pt>
                <c:pt idx="3">
                  <c:v>15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09CE-4EC0-93E2-3F3E37D770EE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09CE-4EC0-93E2-3F3E37D770EE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09CE-4EC0-93E2-3F3E37D770EE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2400</c:v>
                </c:pt>
                <c:pt idx="1">
                  <c:v>0</c:v>
                </c:pt>
                <c:pt idx="2">
                  <c:v>94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09CE-4EC0-93E2-3F3E37D770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76548511"/>
        <c:axId val="1"/>
      </c:barChart>
      <c:catAx>
        <c:axId val="16765485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6765485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57991644747023E-3"/>
          <c:y val="8.2433758586849856E-2"/>
          <c:w val="0.9839084016710506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CE9-4838-BFA6-884CA6AF7EB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CE9-4838-BFA6-884CA6AF7EB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CE9-4838-BFA6-884CA6AF7EB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CE9-4838-BFA6-884CA6AF7E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CE9-4838-BFA6-884CA6AF7EBB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CE9-4838-BFA6-884CA6AF7EB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CE9-4838-BFA6-884CA6AF7EB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CE9-4838-BFA6-884CA6AF7EB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CE9-4838-BFA6-884CA6AF7EB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34.615384615384613</c:v>
                </c:pt>
                <c:pt idx="2">
                  <c:v>21.428571428571427</c:v>
                </c:pt>
                <c:pt idx="3">
                  <c:v>31.25</c:v>
                </c:pt>
                <c:pt idx="4">
                  <c:v>16.666666666666664</c:v>
                </c:pt>
                <c:pt idx="5">
                  <c:v>7.1428571428571423</c:v>
                </c:pt>
                <c:pt idx="6">
                  <c:v>8.3333333333333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CE9-4838-BFA6-884CA6AF7EBB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4CE9-4838-BFA6-884CA6AF7EBB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4CE9-4838-BFA6-884CA6AF7EBB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19.23076923076923</c:v>
                </c:pt>
                <c:pt idx="2">
                  <c:v>14.285714285714283</c:v>
                </c:pt>
                <c:pt idx="3">
                  <c:v>18.75</c:v>
                </c:pt>
                <c:pt idx="4">
                  <c:v>33.333333333333336</c:v>
                </c:pt>
                <c:pt idx="5">
                  <c:v>14.285714285714285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CE9-4838-BFA6-884CA6AF7EBB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4CE9-4838-BFA6-884CA6AF7EBB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4CE9-4838-BFA6-884CA6AF7EB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CE9-4838-BFA6-884CA6AF7E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CE9-4838-BFA6-884CA6AF7EBB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CE9-4838-BFA6-884CA6AF7EB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CE9-4838-BFA6-884CA6AF7EB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CE9-4838-BFA6-884CA6AF7EB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CE9-4838-BFA6-884CA6AF7EB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.000000000000004</c:v>
                </c:pt>
                <c:pt idx="1">
                  <c:v>19.23076923076923</c:v>
                </c:pt>
                <c:pt idx="2">
                  <c:v>14.285714285714285</c:v>
                </c:pt>
                <c:pt idx="3">
                  <c:v>25</c:v>
                </c:pt>
                <c:pt idx="4">
                  <c:v>33.333333333333329</c:v>
                </c:pt>
                <c:pt idx="5">
                  <c:v>21.428571428571427</c:v>
                </c:pt>
                <c:pt idx="6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CE9-4838-BFA6-884CA6AF7EBB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4CE9-4838-BFA6-884CA6AF7EBB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4CE9-4838-BFA6-884CA6AF7EBB}"/>
              </c:ext>
            </c:extLst>
          </c:dPt>
          <c:dLbls>
            <c:dLbl>
              <c:idx val="3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CE9-4838-BFA6-884CA6AF7EBB}"/>
                </c:ext>
              </c:extLst>
            </c:dLbl>
            <c:dLbl>
              <c:idx val="4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4CE9-4838-BFA6-884CA6AF7EB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4CE9-4838-BFA6-884CA6AF7EBB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7.6923076923076987</c:v>
                </c:pt>
                <c:pt idx="2">
                  <c:v>7.142857142857145</c:v>
                </c:pt>
                <c:pt idx="3">
                  <c:v>6.25</c:v>
                </c:pt>
                <c:pt idx="4">
                  <c:v>5.555555555555558</c:v>
                </c:pt>
                <c:pt idx="5">
                  <c:v>42.857142857142854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CE9-4838-BFA6-884CA6AF7EBB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4CE9-4838-BFA6-884CA6AF7EBB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4CE9-4838-BFA6-884CA6AF7EB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CE9-4838-BFA6-884CA6AF7E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4CE9-4838-BFA6-884CA6AF7EBB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4CE9-4838-BFA6-884CA6AF7EBB}"/>
                </c:ext>
              </c:extLst>
            </c:dLbl>
            <c:dLbl>
              <c:idx val="3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4CE9-4838-BFA6-884CA6AF7EBB}"/>
                </c:ext>
              </c:extLst>
            </c:dLbl>
            <c:dLbl>
              <c:idx val="4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4CE9-4838-BFA6-884CA6AF7EBB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CE9-4838-BFA6-884CA6AF7EBB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11.538461538461542</c:v>
                </c:pt>
                <c:pt idx="2">
                  <c:v>7.1428571428571397</c:v>
                </c:pt>
                <c:pt idx="3">
                  <c:v>12.5</c:v>
                </c:pt>
                <c:pt idx="4">
                  <c:v>11.111111111111116</c:v>
                </c:pt>
                <c:pt idx="5">
                  <c:v>14.28571428571429</c:v>
                </c:pt>
                <c:pt idx="6">
                  <c:v>8.3333333333333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4CE9-4838-BFA6-884CA6AF7EBB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4CE9-4838-BFA6-884CA6AF7EBB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4CE9-4838-BFA6-884CA6AF7EBB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4CE9-4838-BFA6-884CA6AF7EB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4CE9-4838-BFA6-884CA6AF7EBB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4CE9-4838-BFA6-884CA6AF7EBB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.000000000000002</c:v>
                </c:pt>
                <c:pt idx="1">
                  <c:v>7.6923076923076872</c:v>
                </c:pt>
                <c:pt idx="2">
                  <c:v>21.428571428571431</c:v>
                </c:pt>
                <c:pt idx="3">
                  <c:v>6.2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4CE9-4838-BFA6-884CA6AF7EBB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4CE9-4838-BFA6-884CA6AF7EBB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4CE9-4838-BFA6-884CA6AF7EBB}"/>
              </c:ext>
            </c:extLst>
          </c:dPt>
          <c:dLbls>
            <c:dLbl>
              <c:idx val="0"/>
              <c:layout>
                <c:manualLayout>
                  <c:x val="5.5856413430295529E-2"/>
                  <c:y val="6.8694798822374874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4CE9-4838-BFA6-884CA6AF7EBB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4CE9-4838-BFA6-884CA6AF7EB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4.9999999999999929</c:v>
                </c:pt>
                <c:pt idx="1">
                  <c:v>0</c:v>
                </c:pt>
                <c:pt idx="2">
                  <c:v>14.2857142857142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4CE9-4838-BFA6-884CA6AF7E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6901504"/>
        <c:axId val="1"/>
      </c:barChart>
      <c:catAx>
        <c:axId val="43690150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43690150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56667722521381E-3"/>
          <c:y val="8.2433758586849856E-2"/>
          <c:w val="0.9835286664554957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D51A-4484-977B-4C3BA6BB0BF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D51A-4484-977B-4C3BA6BB0BF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D51A-4484-977B-4C3BA6BB0BFC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D51A-4484-977B-4C3BA6BB0BFC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1.5210991167811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D51A-4484-977B-4C3BA6BB0BFC}"/>
                </c:ext>
              </c:extLst>
            </c:dLbl>
            <c:dLbl>
              <c:idx val="4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D51A-4484-977B-4C3BA6BB0BFC}"/>
                </c:ext>
              </c:extLst>
            </c:dLbl>
            <c:dLbl>
              <c:idx val="5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D51A-4484-977B-4C3BA6BB0BFC}"/>
                </c:ext>
              </c:extLst>
            </c:dLbl>
            <c:dLbl>
              <c:idx val="6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9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D51A-4484-977B-4C3BA6BB0BFC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D51A-4484-977B-4C3BA6BB0BFC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D51A-4484-977B-4C3BA6BB0BFC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5.64278704612365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5.93719332679097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3.82728164867517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D51A-4484-977B-4C3BA6BB0BFC}"/>
                </c:ext>
              </c:extLst>
            </c:dLbl>
            <c:dLbl>
              <c:idx val="4"/>
              <c:layout>
                <c:manualLayout>
                  <c:x val="4.7355083940449794E-2"/>
                  <c:y val="-4.2688910696761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D51A-4484-977B-4C3BA6BB0BFC}"/>
                </c:ext>
              </c:extLst>
            </c:dLbl>
            <c:dLbl>
              <c:idx val="5"/>
              <c:layout>
                <c:manualLayout>
                  <c:x val="4.7355083940449794E-2"/>
                  <c:y val="-7.605495583905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D51A-4484-977B-4C3BA6BB0BFC}"/>
                </c:ext>
              </c:extLst>
            </c:dLbl>
            <c:dLbl>
              <c:idx val="6"/>
              <c:layout>
                <c:manualLayout>
                  <c:x val="4.7355083940449794E-2"/>
                  <c:y val="-7.16388616290480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6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D51A-4484-977B-4C3BA6BB0BFC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D51A-4484-977B-4C3BA6BB0BFC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D51A-4484-977B-4C3BA6BB0BFC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D51A-4484-977B-4C3BA6BB0BFC}"/>
                </c:ext>
              </c:extLst>
            </c:dLbl>
            <c:dLbl>
              <c:idx val="1"/>
              <c:layout>
                <c:manualLayout>
                  <c:x val="4.7355083940449794E-2"/>
                  <c:y val="4.17075564278704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6.57507360157016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D51A-4484-977B-4C3BA6BB0BFC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D51A-4484-977B-4C3BA6BB0BFC}"/>
                </c:ext>
              </c:extLst>
            </c:dLbl>
            <c:dLbl>
              <c:idx val="5"/>
              <c:layout>
                <c:manualLayout>
                  <c:x val="4.7355083940449794E-2"/>
                  <c:y val="-0.111383709519136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D51A-4484-977B-4C3BA6BB0BFC}"/>
                </c:ext>
              </c:extLst>
            </c:dLbl>
            <c:dLbl>
              <c:idx val="6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D51A-4484-977B-4C3BA6BB0BFC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D51A-4484-977B-4C3BA6BB0BFC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D51A-4484-977B-4C3BA6BB0BFC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1.4229636898920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0.101079489695780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D51A-4484-977B-4C3BA6BB0BFC}"/>
                </c:ext>
              </c:extLst>
            </c:dLbl>
            <c:dLbl>
              <c:idx val="4"/>
              <c:layout>
                <c:manualLayout>
                  <c:x val="4.7355083940449794E-2"/>
                  <c:y val="-1.96270853778213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D51A-4484-977B-4C3BA6BB0BFC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D51A-4484-977B-4C3BA6BB0BFC}"/>
                </c:ext>
              </c:extLst>
            </c:dLbl>
            <c:dLbl>
              <c:idx val="6"/>
              <c:layout>
                <c:manualLayout>
                  <c:x val="4.7355083940449794E-2"/>
                  <c:y val="-0.126104023552502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D51A-4484-977B-4C3BA6BB0BFC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D51A-4484-977B-4C3BA6BB0BFC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D51A-4484-977B-4C3BA6BB0BFC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D51A-4484-977B-4C3BA6BB0BFC}"/>
                </c:ext>
              </c:extLst>
            </c:dLbl>
            <c:dLbl>
              <c:idx val="1"/>
              <c:layout>
                <c:manualLayout>
                  <c:x val="4.7355083940449794E-2"/>
                  <c:y val="-2.1099116781157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0.13444553483807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0.14524043179587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D51A-4484-977B-4C3BA6BB0BFC}"/>
                </c:ext>
              </c:extLst>
            </c:dLbl>
            <c:dLbl>
              <c:idx val="4"/>
              <c:layout>
                <c:manualLayout>
                  <c:x val="4.7355083940449794E-2"/>
                  <c:y val="-6.3788027477919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D51A-4484-977B-4C3BA6BB0BFC}"/>
                </c:ext>
              </c:extLst>
            </c:dLbl>
            <c:dLbl>
              <c:idx val="5"/>
              <c:layout>
                <c:manualLayout>
                  <c:x val="4.7355083940449794E-2"/>
                  <c:y val="-9.71540726202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D51A-4484-977B-4C3BA6BB0BFC}"/>
                </c:ext>
              </c:extLst>
            </c:dLbl>
            <c:dLbl>
              <c:idx val="6"/>
              <c:layout>
                <c:manualLayout>
                  <c:x val="4.7355083940449794E-2"/>
                  <c:y val="-0.165848871442590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D51A-4484-977B-4C3BA6BB0BFC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D51A-4484-977B-4C3BA6BB0BFC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D51A-4484-977B-4C3BA6BB0BFC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D51A-4484-977B-4C3BA6BB0BFC}"/>
                </c:ext>
              </c:extLst>
            </c:dLbl>
            <c:dLbl>
              <c:idx val="1"/>
              <c:layout>
                <c:manualLayout>
                  <c:x val="4.7355083940449794E-2"/>
                  <c:y val="-5.69185475956820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0.174190382728164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D51A-4484-977B-4C3BA6BB0BFC}"/>
                </c:ext>
              </c:extLst>
            </c:dLbl>
            <c:dLbl>
              <c:idx val="3"/>
              <c:layout>
                <c:manualLayout>
                  <c:x val="4.7355083940449794E-2"/>
                  <c:y val="-0.18891069676153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D51A-4484-977B-4C3BA6BB0BFC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C-D51A-4484-977B-4C3BA6BB0BFC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D-D51A-4484-977B-4C3BA6BB0BFC}"/>
              </c:ext>
            </c:extLst>
          </c:dPt>
          <c:dLbls>
            <c:dLbl>
              <c:idx val="0"/>
              <c:layout>
                <c:manualLayout>
                  <c:x val="4.7355083940449794E-2"/>
                  <c:y val="6.86947988223748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D51A-4484-977B-4C3BA6BB0BFC}"/>
                </c:ext>
              </c:extLst>
            </c:dLbl>
            <c:dLbl>
              <c:idx val="2"/>
              <c:layout>
                <c:manualLayout>
                  <c:x val="4.7355083940449794E-2"/>
                  <c:y val="-0.210009813542688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D51A-4484-977B-4C3BA6BB0BF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5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D51A-4484-977B-4C3BA6BB0B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76442719"/>
        <c:axId val="1"/>
      </c:barChart>
      <c:catAx>
        <c:axId val="167644271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67644271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8.2433758586849856E-2"/>
          <c:w val="0.9845628618079264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F1E-4A79-BC33-2AF8AFD3258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F1E-4A79-BC33-2AF8AFD3258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F1E-4A79-BC33-2AF8AFD32589}"/>
              </c:ext>
            </c:extLst>
          </c:dPt>
          <c:dLbls>
            <c:dLbl>
              <c:idx val="0"/>
              <c:layout>
                <c:manualLayout>
                  <c:x val="5.5217455840878726E-2"/>
                  <c:y val="-1.6683022571148183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BF1E-4A79-BC33-2AF8AFD3258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BF1E-4A79-BC33-2AF8AFD32589}"/>
                </c:ext>
              </c:extLst>
            </c:dLbl>
            <c:dLbl>
              <c:idx val="2"/>
              <c:layout>
                <c:manualLayout>
                  <c:x val="5.5217455840878726E-2"/>
                  <c:y val="-2.109911678115799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F1E-4A79-BC33-2AF8AFD3258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F1E-4A79-BC33-2AF8AFD3258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F1E-4A79-BC33-2AF8AFD32589}"/>
                </c:ext>
              </c:extLst>
            </c:dLbl>
            <c:dLbl>
              <c:idx val="5"/>
              <c:layout>
                <c:manualLayout>
                  <c:x val="5.5217455840878726E-2"/>
                  <c:y val="-2.99313052011776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F1E-4A79-BC33-2AF8AFD32589}"/>
                </c:ext>
              </c:extLst>
            </c:dLbl>
            <c:dLbl>
              <c:idx val="6"/>
              <c:layout>
                <c:manualLayout>
                  <c:x val="5.5217455840878726E-2"/>
                  <c:y val="-2.74779195289499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7297297297297298</c:v>
                </c:pt>
                <c:pt idx="1">
                  <c:v>12.57606490872211</c:v>
                </c:pt>
                <c:pt idx="2">
                  <c:v>3.6777583187390541</c:v>
                </c:pt>
                <c:pt idx="3">
                  <c:v>12.323943661971832</c:v>
                </c:pt>
                <c:pt idx="4">
                  <c:v>7.3684210526315779</c:v>
                </c:pt>
                <c:pt idx="5">
                  <c:v>1.5503875968992249</c:v>
                </c:pt>
                <c:pt idx="6">
                  <c:v>2.157738095238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F1E-4A79-BC33-2AF8AFD32589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F1E-4A79-BC33-2AF8AFD32589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F1E-4A79-BC33-2AF8AFD32589}"/>
              </c:ext>
            </c:extLst>
          </c:dPt>
          <c:dLbls>
            <c:dLbl>
              <c:idx val="2"/>
              <c:layout>
                <c:manualLayout>
                  <c:x val="5.5217455840878726E-2"/>
                  <c:y val="-4.023552502453385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.1081081081081106</c:v>
                </c:pt>
                <c:pt idx="1">
                  <c:v>15.212981744421908</c:v>
                </c:pt>
                <c:pt idx="2">
                  <c:v>5.2539404553415059</c:v>
                </c:pt>
                <c:pt idx="3">
                  <c:v>15.845070422535217</c:v>
                </c:pt>
                <c:pt idx="4">
                  <c:v>31.578947368421051</c:v>
                </c:pt>
                <c:pt idx="5">
                  <c:v>7.7519379844961236</c:v>
                </c:pt>
                <c:pt idx="6">
                  <c:v>16.7410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F1E-4A79-BC33-2AF8AFD32589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F1E-4A79-BC33-2AF8AFD32589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F1E-4A79-BC33-2AF8AFD3258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F1E-4A79-BC33-2AF8AFD32589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F1E-4A79-BC33-2AF8AFD32589}"/>
                </c:ext>
              </c:extLst>
            </c:dLbl>
            <c:dLbl>
              <c:idx val="2"/>
              <c:layout>
                <c:manualLayout>
                  <c:x val="5.5217455840878726E-2"/>
                  <c:y val="-5.6918547595682038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F1E-4A79-BC33-2AF8AFD3258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BF1E-4A79-BC33-2AF8AFD3258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F1E-4A79-BC33-2AF8AFD32589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F1E-4A79-BC33-2AF8AFD32589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8.1081081081081088</c:v>
                </c:pt>
                <c:pt idx="1">
                  <c:v>12.981744421906694</c:v>
                </c:pt>
                <c:pt idx="2">
                  <c:v>4.2031523642732047</c:v>
                </c:pt>
                <c:pt idx="3">
                  <c:v>15.492957746478876</c:v>
                </c:pt>
                <c:pt idx="4">
                  <c:v>28.771929824561404</c:v>
                </c:pt>
                <c:pt idx="5">
                  <c:v>14.470284237726098</c:v>
                </c:pt>
                <c:pt idx="6">
                  <c:v>26.041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BF1E-4A79-BC33-2AF8AFD32589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BF1E-4A79-BC33-2AF8AFD32589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BF1E-4A79-BC33-2AF8AFD32589}"/>
              </c:ext>
            </c:extLst>
          </c:dPt>
          <c:dLbls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F1E-4A79-BC33-2AF8AFD32589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0.135135135135137</c:v>
                </c:pt>
                <c:pt idx="1">
                  <c:v>12.170385395537526</c:v>
                </c:pt>
                <c:pt idx="2">
                  <c:v>5.253940455341505</c:v>
                </c:pt>
                <c:pt idx="3">
                  <c:v>10.563380281690138</c:v>
                </c:pt>
                <c:pt idx="4">
                  <c:v>10.526315789473683</c:v>
                </c:pt>
                <c:pt idx="5">
                  <c:v>41.343669250645988</c:v>
                </c:pt>
                <c:pt idx="6">
                  <c:v>30.50595238095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BF1E-4A79-BC33-2AF8AFD32589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BF1E-4A79-BC33-2AF8AFD32589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F1E-4A79-BC33-2AF8AFD3258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F1E-4A79-BC33-2AF8AFD32589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F1E-4A79-BC33-2AF8AFD3258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BF1E-4A79-BC33-2AF8AFD3258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BF1E-4A79-BC33-2AF8AFD3258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BF1E-4A79-BC33-2AF8AFD3258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BF1E-4A79-BC33-2AF8AFD3258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8.918918918918916</c:v>
                </c:pt>
                <c:pt idx="1">
                  <c:v>22.718052738336713</c:v>
                </c:pt>
                <c:pt idx="2">
                  <c:v>6.6549912434325726</c:v>
                </c:pt>
                <c:pt idx="3">
                  <c:v>26.760563380281688</c:v>
                </c:pt>
                <c:pt idx="4">
                  <c:v>21.754385964912281</c:v>
                </c:pt>
                <c:pt idx="5">
                  <c:v>34.883720930232563</c:v>
                </c:pt>
                <c:pt idx="6">
                  <c:v>24.55357142857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BF1E-4A79-BC33-2AF8AFD32589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BF1E-4A79-BC33-2AF8AFD32589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BF1E-4A79-BC33-2AF8AFD3258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BF1E-4A79-BC33-2AF8AFD3258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BF1E-4A79-BC33-2AF8AFD3258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BF1E-4A79-BC33-2AF8AFD3258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7.702702702702698</c:v>
                </c:pt>
                <c:pt idx="1">
                  <c:v>24.340770791075052</c:v>
                </c:pt>
                <c:pt idx="2">
                  <c:v>28.721541155866898</c:v>
                </c:pt>
                <c:pt idx="3">
                  <c:v>19.014084507042249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BF1E-4A79-BC33-2AF8AFD32589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BF1E-4A79-BC33-2AF8AFD32589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BF1E-4A79-BC33-2AF8AFD3258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BF1E-4A79-BC33-2AF8AFD3258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BF1E-4A79-BC33-2AF8AFD3258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2.297297297297302</c:v>
                </c:pt>
                <c:pt idx="1">
                  <c:v>0</c:v>
                </c:pt>
                <c:pt idx="2">
                  <c:v>46.23467600700526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BF1E-4A79-BC33-2AF8AFD325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7443216"/>
        <c:axId val="1"/>
      </c:barChart>
      <c:catAx>
        <c:axId val="127744321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27744321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582674724934134E-3"/>
          <c:y val="2.584493041749503E-2"/>
          <c:w val="0.98388346505501312"/>
          <c:h val="0.9483101391650099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C16-4110-B77E-A093C223D703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3400</c:v>
                </c:pt>
                <c:pt idx="1">
                  <c:v>3000</c:v>
                </c:pt>
                <c:pt idx="2">
                  <c:v>1850</c:v>
                </c:pt>
                <c:pt idx="3">
                  <c:v>900</c:v>
                </c:pt>
                <c:pt idx="4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C16-4110-B77E-A093C223D703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3100</c:v>
                </c:pt>
                <c:pt idx="1">
                  <c:v>3200</c:v>
                </c:pt>
                <c:pt idx="2">
                  <c:v>2650</c:v>
                </c:pt>
                <c:pt idx="3">
                  <c:v>1400</c:v>
                </c:pt>
                <c:pt idx="4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C16-4110-B77E-A093C223D703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2950</c:v>
                </c:pt>
                <c:pt idx="1">
                  <c:v>3500</c:v>
                </c:pt>
                <c:pt idx="2">
                  <c:v>2500</c:v>
                </c:pt>
                <c:pt idx="3">
                  <c:v>1300</c:v>
                </c:pt>
                <c:pt idx="4">
                  <c:v>1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C16-4110-B77E-A093C223D703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2240</c:v>
                </c:pt>
                <c:pt idx="1">
                  <c:v>1700</c:v>
                </c:pt>
                <c:pt idx="2">
                  <c:v>2700</c:v>
                </c:pt>
                <c:pt idx="3">
                  <c:v>3600</c:v>
                </c:pt>
                <c:pt idx="4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C16-4110-B77E-A093C223D703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2300</c:v>
                </c:pt>
                <c:pt idx="1">
                  <c:v>1900</c:v>
                </c:pt>
                <c:pt idx="2">
                  <c:v>2800</c:v>
                </c:pt>
                <c:pt idx="3">
                  <c:v>3400</c:v>
                </c:pt>
                <c:pt idx="4">
                  <c:v>28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3C16-4110-B77E-A093C223D703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750</c:v>
                </c:pt>
                <c:pt idx="1">
                  <c:v>2800</c:v>
                </c:pt>
                <c:pt idx="2">
                  <c:v>3000</c:v>
                </c:pt>
                <c:pt idx="3">
                  <c:v>4500</c:v>
                </c:pt>
                <c:pt idx="4">
                  <c:v>4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C16-4110-B77E-A093C223D703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1150</c:v>
                </c:pt>
                <c:pt idx="1">
                  <c:v>2100</c:v>
                </c:pt>
                <c:pt idx="2">
                  <c:v>2200</c:v>
                </c:pt>
                <c:pt idx="3">
                  <c:v>2700</c:v>
                </c:pt>
                <c:pt idx="4">
                  <c:v>3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3C16-4110-B77E-A093C223D7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676522063"/>
        <c:axId val="1"/>
      </c:barChart>
      <c:catAx>
        <c:axId val="167652206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67652206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7.9432624113475181E-2"/>
          <c:w val="0.9845628618079264"/>
          <c:h val="0.8411347517730496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1FA-41A9-AEA6-F73C2E6A720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1FA-41A9-AEA6-F73C2E6A7203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1FA-41A9-AEA6-F73C2E6A7203}"/>
              </c:ext>
            </c:extLst>
          </c:dPt>
          <c:dLbls>
            <c:dLbl>
              <c:idx val="0"/>
              <c:layout>
                <c:manualLayout>
                  <c:x val="5.4772153777645834E-2"/>
                  <c:y val="-1.51300236406619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1FA-41A9-AEA6-F73C2E6A7203}"/>
                </c:ext>
              </c:extLst>
            </c:dLbl>
            <c:dLbl>
              <c:idx val="1"/>
              <c:layout>
                <c:manualLayout>
                  <c:x val="5.4772153777645834E-2"/>
                  <c:y val="-2.60047281323877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1FA-41A9-AEA6-F73C2E6A7203}"/>
                </c:ext>
              </c:extLst>
            </c:dLbl>
            <c:dLbl>
              <c:idx val="2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2.97872340425531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1FA-41A9-AEA6-F73C2E6A7203}"/>
                </c:ext>
              </c:extLst>
            </c:dLbl>
            <c:dLbl>
              <c:idx val="4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1FA-41A9-AEA6-F73C2E6A7203}"/>
                </c:ext>
              </c:extLst>
            </c:dLbl>
            <c:dLbl>
              <c:idx val="5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1FA-41A9-AEA6-F73C2E6A7203}"/>
                </c:ext>
              </c:extLst>
            </c:dLbl>
            <c:dLbl>
              <c:idx val="6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00</c:v>
                </c:pt>
                <c:pt idx="1">
                  <c:v>310</c:v>
                </c:pt>
                <c:pt idx="2">
                  <c:v>105</c:v>
                </c:pt>
                <c:pt idx="3">
                  <c:v>175</c:v>
                </c:pt>
                <c:pt idx="4">
                  <c:v>105</c:v>
                </c:pt>
                <c:pt idx="5">
                  <c:v>60</c:v>
                </c:pt>
                <c:pt idx="6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1FA-41A9-AEA6-F73C2E6A7203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41FA-41A9-AEA6-F73C2E6A7203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41FA-41A9-AEA6-F73C2E6A7203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6.14657210401891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1FA-41A9-AEA6-F73C2E6A7203}"/>
                </c:ext>
              </c:extLst>
            </c:dLbl>
            <c:dLbl>
              <c:idx val="2"/>
              <c:layout>
                <c:manualLayout>
                  <c:x val="5.4772153777645834E-2"/>
                  <c:y val="-7.89598108747044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1FA-41A9-AEA6-F73C2E6A7203}"/>
                </c:ext>
              </c:extLst>
            </c:dLbl>
            <c:dLbl>
              <c:idx val="4"/>
              <c:layout>
                <c:manualLayout>
                  <c:x val="5.4772153777645834E-2"/>
                  <c:y val="-7.09219858156028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1FA-41A9-AEA6-F73C2E6A7203}"/>
                </c:ext>
              </c:extLst>
            </c:dLbl>
            <c:dLbl>
              <c:idx val="5"/>
              <c:layout>
                <c:manualLayout>
                  <c:x val="5.4772153777645834E-2"/>
                  <c:y val="-7.754137115839243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41FA-41A9-AEA6-F73C2E6A7203}"/>
                </c:ext>
              </c:extLst>
            </c:dLbl>
            <c:dLbl>
              <c:idx val="6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200</c:v>
                </c:pt>
                <c:pt idx="1">
                  <c:v>375</c:v>
                </c:pt>
                <c:pt idx="2">
                  <c:v>150</c:v>
                </c:pt>
                <c:pt idx="3">
                  <c:v>225</c:v>
                </c:pt>
                <c:pt idx="4">
                  <c:v>450</c:v>
                </c:pt>
                <c:pt idx="5">
                  <c:v>300</c:v>
                </c:pt>
                <c:pt idx="6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1FA-41A9-AEA6-F73C2E6A7203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41FA-41A9-AEA6-F73C2E6A7203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41FA-41A9-AEA6-F73C2E6A7203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9.6453900709219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1FA-41A9-AEA6-F73C2E6A7203}"/>
                </c:ext>
              </c:extLst>
            </c:dLbl>
            <c:dLbl>
              <c:idx val="2"/>
              <c:layout>
                <c:manualLayout>
                  <c:x val="5.4772153777645834E-2"/>
                  <c:y val="-0.125768321513002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0.1148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41FA-41A9-AEA6-F73C2E6A7203}"/>
                </c:ext>
              </c:extLst>
            </c:dLbl>
            <c:dLbl>
              <c:idx val="4"/>
              <c:layout>
                <c:manualLayout>
                  <c:x val="5.4772153777645834E-2"/>
                  <c:y val="-0.101182033096926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1FA-41A9-AEA6-F73C2E6A7203}"/>
                </c:ext>
              </c:extLst>
            </c:dLbl>
            <c:dLbl>
              <c:idx val="5"/>
              <c:layout>
                <c:manualLayout>
                  <c:x val="5.4772153777645834E-2"/>
                  <c:y val="-0.107801418439716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1FA-41A9-AEA6-F73C2E6A7203}"/>
                </c:ext>
              </c:extLst>
            </c:dLbl>
            <c:dLbl>
              <c:idx val="6"/>
              <c:layout>
                <c:manualLayout>
                  <c:x val="5.4772153777645834E-2"/>
                  <c:y val="-9.55082742316784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200</c:v>
                </c:pt>
                <c:pt idx="1">
                  <c:v>320</c:v>
                </c:pt>
                <c:pt idx="2">
                  <c:v>120</c:v>
                </c:pt>
                <c:pt idx="3">
                  <c:v>220</c:v>
                </c:pt>
                <c:pt idx="4">
                  <c:v>410</c:v>
                </c:pt>
                <c:pt idx="5">
                  <c:v>560</c:v>
                </c:pt>
                <c:pt idx="6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41FA-41A9-AEA6-F73C2E6A7203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41FA-41A9-AEA6-F73C2E6A7203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41FA-41A9-AEA6-F73C2E6A7203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33333333333333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0.158865248226950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1FA-41A9-AEA6-F73C2E6A7203}"/>
                </c:ext>
              </c:extLst>
            </c:dLbl>
            <c:dLbl>
              <c:idx val="4"/>
              <c:layout>
                <c:manualLayout>
                  <c:x val="5.4772153777645834E-2"/>
                  <c:y val="-0.13947990543735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1FA-41A9-AEA6-F73C2E6A7203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500</c:v>
                </c:pt>
                <c:pt idx="1">
                  <c:v>30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600</c:v>
                </c:pt>
                <c:pt idx="6">
                  <c:v>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41FA-41A9-AEA6-F73C2E6A7203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41FA-41A9-AEA6-F73C2E6A7203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41FA-41A9-AEA6-F73C2E6A7203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6359338061465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41FA-41A9-AEA6-F73C2E6A7203}"/>
                </c:ext>
              </c:extLst>
            </c:dLbl>
            <c:dLbl>
              <c:idx val="2"/>
              <c:layout>
                <c:manualLayout>
                  <c:x val="5.4772153777645834E-2"/>
                  <c:y val="-0.163120567375886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0.198581560283687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41FA-41A9-AEA6-F73C2E6A7203}"/>
                </c:ext>
              </c:extLst>
            </c:dLbl>
            <c:dLbl>
              <c:idx val="4"/>
              <c:layout>
                <c:manualLayout>
                  <c:x val="5.4772153777645834E-2"/>
                  <c:y val="-0.1810874704491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41FA-41A9-AEA6-F73C2E6A7203}"/>
                </c:ext>
              </c:extLst>
            </c:dLbl>
            <c:dLbl>
              <c:idx val="6"/>
              <c:layout>
                <c:manualLayout>
                  <c:x val="5.4772153777645834E-2"/>
                  <c:y val="-6.57210401891252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2800</c:v>
                </c:pt>
                <c:pt idx="1">
                  <c:v>560</c:v>
                </c:pt>
                <c:pt idx="2">
                  <c:v>190</c:v>
                </c:pt>
                <c:pt idx="3">
                  <c:v>380</c:v>
                </c:pt>
                <c:pt idx="4">
                  <c:v>310</c:v>
                </c:pt>
                <c:pt idx="5">
                  <c:v>1350</c:v>
                </c:pt>
                <c:pt idx="6">
                  <c:v>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41FA-41A9-AEA6-F73C2E6A7203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41FA-41A9-AEA6-F73C2E6A7203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41FA-41A9-AEA6-F73C2E6A7203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85342789598108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41FA-41A9-AEA6-F73C2E6A7203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41FA-41A9-AEA6-F73C2E6A7203}"/>
                </c:ext>
              </c:extLst>
            </c:dLbl>
            <c:dLbl>
              <c:idx val="3"/>
              <c:layout>
                <c:manualLayout>
                  <c:x val="5.4772153777645834E-2"/>
                  <c:y val="-0.234515366430260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41FA-41A9-AEA6-F73C2E6A720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4100</c:v>
                </c:pt>
                <c:pt idx="1">
                  <c:v>600</c:v>
                </c:pt>
                <c:pt idx="2">
                  <c:v>820</c:v>
                </c:pt>
                <c:pt idx="3">
                  <c:v>27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41FA-41A9-AEA6-F73C2E6A7203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41FA-41A9-AEA6-F73C2E6A7203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41FA-41A9-AEA6-F73C2E6A7203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3300</c:v>
                </c:pt>
                <c:pt idx="1">
                  <c:v>0</c:v>
                </c:pt>
                <c:pt idx="2">
                  <c:v>132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41FA-41A9-AEA6-F73C2E6A72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02198576"/>
        <c:axId val="1"/>
      </c:barChart>
      <c:catAx>
        <c:axId val="3021985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3021985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44662275999388E-3"/>
          <c:y val="8.2433758586849856E-2"/>
          <c:w val="0.98407106754480012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4A21-44EE-A35D-DFB929B813E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A21-44EE-A35D-DFB929B813EE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4A21-44EE-A35D-DFB929B813EE}"/>
              </c:ext>
            </c:extLst>
          </c:dPt>
          <c:dLbls>
            <c:dLbl>
              <c:idx val="0"/>
              <c:layout>
                <c:manualLayout>
                  <c:x val="5.5598100781130338E-2"/>
                  <c:y val="-1.86457311089303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4A21-44EE-A35D-DFB929B813E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4A21-44EE-A35D-DFB929B813EE}"/>
                </c:ext>
              </c:extLst>
            </c:dLbl>
            <c:dLbl>
              <c:idx val="2"/>
              <c:layout>
                <c:manualLayout>
                  <c:x val="5.5598100781130338E-2"/>
                  <c:y val="-2.306182531894013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A21-44EE-A35D-DFB929B813E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4A21-44EE-A35D-DFB929B813E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4A21-44EE-A35D-DFB929B813EE}"/>
                </c:ext>
              </c:extLst>
            </c:dLbl>
            <c:dLbl>
              <c:idx val="5"/>
              <c:layout>
                <c:manualLayout>
                  <c:x val="5.5598100781130338E-2"/>
                  <c:y val="-3.140333660451422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A21-44EE-A35D-DFB929B813EE}"/>
                </c:ext>
              </c:extLst>
            </c:dLbl>
            <c:dLbl>
              <c:idx val="6"/>
              <c:layout>
                <c:manualLayout>
                  <c:x val="5.5598100781130338E-2"/>
                  <c:y val="-3.0421982335623161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2553191489361701</c:v>
                </c:pt>
                <c:pt idx="1">
                  <c:v>12.121212121212121</c:v>
                </c:pt>
                <c:pt idx="2">
                  <c:v>3.1746031746031753</c:v>
                </c:pt>
                <c:pt idx="3">
                  <c:v>11.835748792270531</c:v>
                </c:pt>
                <c:pt idx="4">
                  <c:v>6.8801897983392646</c:v>
                </c:pt>
                <c:pt idx="5">
                  <c:v>1.1857707509881421</c:v>
                </c:pt>
                <c:pt idx="6">
                  <c:v>1.466992665036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4A21-44EE-A35D-DFB929B813EE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4A21-44EE-A35D-DFB929B813EE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4A21-44EE-A35D-DFB929B813EE}"/>
              </c:ext>
            </c:extLst>
          </c:dPt>
          <c:dLbls>
            <c:dLbl>
              <c:idx val="2"/>
              <c:layout>
                <c:manualLayout>
                  <c:x val="5.5598100781130338E-2"/>
                  <c:y val="-4.6123650637880272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4.478114478114479</c:v>
                </c:pt>
                <c:pt idx="2">
                  <c:v>4.7619047619047628</c:v>
                </c:pt>
                <c:pt idx="3">
                  <c:v>14.492753623188406</c:v>
                </c:pt>
                <c:pt idx="4">
                  <c:v>30.2491103202847</c:v>
                </c:pt>
                <c:pt idx="5">
                  <c:v>10.671936758893279</c:v>
                </c:pt>
                <c:pt idx="6">
                  <c:v>19.804400977995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A21-44EE-A35D-DFB929B813EE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4A21-44EE-A35D-DFB929B813EE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4A21-44EE-A35D-DFB929B813E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4A21-44EE-A35D-DFB929B813E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4A21-44EE-A35D-DFB929B813EE}"/>
                </c:ext>
              </c:extLst>
            </c:dLbl>
            <c:dLbl>
              <c:idx val="2"/>
              <c:layout>
                <c:manualLayout>
                  <c:x val="5.5598100781130338E-2"/>
                  <c:y val="-6.7222767419038279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4A21-44EE-A35D-DFB929B813E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4A21-44EE-A35D-DFB929B813E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4A21-44EE-A35D-DFB929B813E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4A21-44EE-A35D-DFB929B813E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2.794612794612792</c:v>
                </c:pt>
                <c:pt idx="2">
                  <c:v>3.7037037037037051</c:v>
                </c:pt>
                <c:pt idx="3">
                  <c:v>15.700483091787437</c:v>
                </c:pt>
                <c:pt idx="4">
                  <c:v>28.469750889679712</c:v>
                </c:pt>
                <c:pt idx="5">
                  <c:v>11.06719367588933</c:v>
                </c:pt>
                <c:pt idx="6">
                  <c:v>17.114914425427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A21-44EE-A35D-DFB929B813EE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4A21-44EE-A35D-DFB929B813EE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4A21-44EE-A35D-DFB929B813EE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4A21-44EE-A35D-DFB929B813E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181818181818176</c:v>
                </c:pt>
                <c:pt idx="2">
                  <c:v>7.1428571428571423</c:v>
                </c:pt>
                <c:pt idx="3">
                  <c:v>16.30434782608695</c:v>
                </c:pt>
                <c:pt idx="4">
                  <c:v>16.014234875444842</c:v>
                </c:pt>
                <c:pt idx="5">
                  <c:v>38.735177865612648</c:v>
                </c:pt>
                <c:pt idx="6">
                  <c:v>24.44987775061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4A21-44EE-A35D-DFB929B813EE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4A21-44EE-A35D-DFB929B813EE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4A21-44EE-A35D-DFB929B813E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4A21-44EE-A35D-DFB929B813EE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4A21-44EE-A35D-DFB929B813EE}"/>
                </c:ext>
              </c:extLst>
            </c:dLbl>
            <c:dLbl>
              <c:idx val="2"/>
              <c:layout>
                <c:manualLayout>
                  <c:x val="5.5598100781130338E-2"/>
                  <c:y val="-2.796859666339548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4A21-44EE-A35D-DFB929B813E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4A21-44EE-A35D-DFB929B813E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4A21-44EE-A35D-DFB929B813E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4A21-44EE-A35D-DFB929B813EE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855218855218858</c:v>
                </c:pt>
                <c:pt idx="2">
                  <c:v>5.0264550264550261</c:v>
                </c:pt>
                <c:pt idx="3">
                  <c:v>22.946859903381643</c:v>
                </c:pt>
                <c:pt idx="4">
                  <c:v>18.386714116251479</c:v>
                </c:pt>
                <c:pt idx="5">
                  <c:v>38.339920948616601</c:v>
                </c:pt>
                <c:pt idx="6">
                  <c:v>37.163814180929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4A21-44EE-A35D-DFB929B813EE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4A21-44EE-A35D-DFB929B813EE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4A21-44EE-A35D-DFB929B813E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4A21-44EE-A35D-DFB929B813EE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4A21-44EE-A35D-DFB929B813EE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4A21-44EE-A35D-DFB929B813E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6.59574468085107</c:v>
                </c:pt>
                <c:pt idx="1">
                  <c:v>23.569023569023571</c:v>
                </c:pt>
                <c:pt idx="2">
                  <c:v>26.455026455026452</c:v>
                </c:pt>
                <c:pt idx="3">
                  <c:v>18.719806763285028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4A21-44EE-A35D-DFB929B813EE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4A21-44EE-A35D-DFB929B813EE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4A21-44EE-A35D-DFB929B813E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4A21-44EE-A35D-DFB929B813E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4A21-44EE-A35D-DFB929B813E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5.531914893617014</c:v>
                </c:pt>
                <c:pt idx="1">
                  <c:v>0</c:v>
                </c:pt>
                <c:pt idx="2">
                  <c:v>49.73544973544973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4A21-44EE-A35D-DFB929B813E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7453888"/>
        <c:axId val="1"/>
      </c:barChart>
      <c:catAx>
        <c:axId val="1277453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277453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128781750525804E-3"/>
          <c:y val="2.8792912513842746E-2"/>
          <c:w val="0.98317424364989481"/>
          <c:h val="0.942414174972314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8E8F-4C53-9361-B74FA0AAE13C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E8F-4C53-9361-B74FA0AAE13C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8E8F-4C53-9361-B74FA0AAE13C}"/>
              </c:ext>
            </c:extLst>
          </c:dPt>
          <c:val>
            <c:numRef>
              <c:f>Sheet1!$A$1:$G$1</c:f>
              <c:numCache>
                <c:formatCode>General</c:formatCode>
                <c:ptCount val="7"/>
                <c:pt idx="0">
                  <c:v>400</c:v>
                </c:pt>
                <c:pt idx="1">
                  <c:v>180</c:v>
                </c:pt>
                <c:pt idx="2">
                  <c:v>60</c:v>
                </c:pt>
                <c:pt idx="3">
                  <c:v>98</c:v>
                </c:pt>
                <c:pt idx="4">
                  <c:v>58</c:v>
                </c:pt>
                <c:pt idx="5">
                  <c:v>30</c:v>
                </c:pt>
                <c:pt idx="6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8E8F-4C53-9361-B74FA0AAE13C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8E8F-4C53-9361-B74FA0AAE13C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E8F-4C53-9361-B74FA0AAE13C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700</c:v>
                </c:pt>
                <c:pt idx="1">
                  <c:v>215</c:v>
                </c:pt>
                <c:pt idx="2">
                  <c:v>90</c:v>
                </c:pt>
                <c:pt idx="3">
                  <c:v>120</c:v>
                </c:pt>
                <c:pt idx="4">
                  <c:v>255</c:v>
                </c:pt>
                <c:pt idx="5">
                  <c:v>270</c:v>
                </c:pt>
                <c:pt idx="6">
                  <c:v>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E8F-4C53-9361-B74FA0AAE13C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8E8F-4C53-9361-B74FA0AAE13C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8E8F-4C53-9361-B74FA0AAE13C}"/>
              </c:ext>
            </c:extLst>
          </c:dPt>
          <c:val>
            <c:numRef>
              <c:f>Sheet1!$A$3:$G$3</c:f>
              <c:numCache>
                <c:formatCode>General</c:formatCode>
                <c:ptCount val="7"/>
                <c:pt idx="0">
                  <c:v>700</c:v>
                </c:pt>
                <c:pt idx="1">
                  <c:v>190</c:v>
                </c:pt>
                <c:pt idx="2">
                  <c:v>70</c:v>
                </c:pt>
                <c:pt idx="3">
                  <c:v>130</c:v>
                </c:pt>
                <c:pt idx="4">
                  <c:v>240</c:v>
                </c:pt>
                <c:pt idx="5">
                  <c:v>280</c:v>
                </c:pt>
                <c:pt idx="6">
                  <c:v>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E8F-4C53-9361-B74FA0AAE13C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8E8F-4C53-9361-B74FA0AAE13C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8E8F-4C53-9361-B74FA0AAE13C}"/>
              </c:ext>
            </c:extLst>
          </c:dPt>
          <c:val>
            <c:numRef>
              <c:f>Sheet1!$A$4:$G$4</c:f>
              <c:numCache>
                <c:formatCode>General</c:formatCode>
                <c:ptCount val="7"/>
                <c:pt idx="0">
                  <c:v>1350</c:v>
                </c:pt>
                <c:pt idx="1">
                  <c:v>270</c:v>
                </c:pt>
                <c:pt idx="2">
                  <c:v>135</c:v>
                </c:pt>
                <c:pt idx="3">
                  <c:v>135</c:v>
                </c:pt>
                <c:pt idx="4">
                  <c:v>135</c:v>
                </c:pt>
                <c:pt idx="5">
                  <c:v>980</c:v>
                </c:pt>
                <c:pt idx="6">
                  <c:v>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E8F-4C53-9361-B74FA0AAE13C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8E8F-4C53-9361-B74FA0AAE13C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8E8F-4C53-9361-B74FA0AAE13C}"/>
              </c:ext>
            </c:extLst>
          </c:dPt>
          <c:val>
            <c:numRef>
              <c:f>Sheet1!$A$5:$G$5</c:f>
              <c:numCache>
                <c:formatCode>General</c:formatCode>
                <c:ptCount val="7"/>
                <c:pt idx="0">
                  <c:v>1350</c:v>
                </c:pt>
                <c:pt idx="1">
                  <c:v>280</c:v>
                </c:pt>
                <c:pt idx="2">
                  <c:v>95</c:v>
                </c:pt>
                <c:pt idx="3">
                  <c:v>190</c:v>
                </c:pt>
                <c:pt idx="4">
                  <c:v>155</c:v>
                </c:pt>
                <c:pt idx="5">
                  <c:v>970</c:v>
                </c:pt>
                <c:pt idx="6">
                  <c:v>7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8E8F-4C53-9361-B74FA0AAE13C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8E8F-4C53-9361-B74FA0AAE13C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8E8F-4C53-9361-B74FA0AAE13C}"/>
              </c:ext>
            </c:extLst>
          </c:dPt>
          <c:val>
            <c:numRef>
              <c:f>Sheet1!$A$6:$G$6</c:f>
              <c:numCache>
                <c:formatCode>General</c:formatCode>
                <c:ptCount val="7"/>
                <c:pt idx="0">
                  <c:v>2500</c:v>
                </c:pt>
                <c:pt idx="1">
                  <c:v>350</c:v>
                </c:pt>
                <c:pt idx="2">
                  <c:v>500</c:v>
                </c:pt>
                <c:pt idx="3">
                  <c:v>15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8E8F-4C53-9361-B74FA0AAE13C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8E8F-4C53-9361-B74FA0AAE13C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8E8F-4C53-9361-B74FA0AAE13C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2400</c:v>
                </c:pt>
                <c:pt idx="1">
                  <c:v>0</c:v>
                </c:pt>
                <c:pt idx="2">
                  <c:v>94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8E8F-4C53-9361-B74FA0AAE1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78053120"/>
        <c:axId val="1"/>
      </c:barChart>
      <c:catAx>
        <c:axId val="107805312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07805312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57991644747023E-3"/>
          <c:y val="8.2433758586849856E-2"/>
          <c:w val="0.9839084016710506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BA3-4AF9-B17B-B9B9F235DB30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BA3-4AF9-B17B-B9B9F235DB30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BA3-4AF9-B17B-B9B9F235DB30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FBA3-4AF9-B17B-B9B9F235DB3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FBA3-4AF9-B17B-B9B9F235DB30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FBA3-4AF9-B17B-B9B9F235DB3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FBA3-4AF9-B17B-B9B9F235DB30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FBA3-4AF9-B17B-B9B9F235DB3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FBA3-4AF9-B17B-B9B9F235DB3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34.615384615384613</c:v>
                </c:pt>
                <c:pt idx="2">
                  <c:v>21.428571428571427</c:v>
                </c:pt>
                <c:pt idx="3">
                  <c:v>31.25</c:v>
                </c:pt>
                <c:pt idx="4">
                  <c:v>16.666666666666664</c:v>
                </c:pt>
                <c:pt idx="5">
                  <c:v>7.1428571428571423</c:v>
                </c:pt>
                <c:pt idx="6">
                  <c:v>8.3333333333333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BA3-4AF9-B17B-B9B9F235DB30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BA3-4AF9-B17B-B9B9F235DB30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FBA3-4AF9-B17B-B9B9F235DB30}"/>
              </c:ext>
            </c:extLst>
          </c:dPt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19.23076923076923</c:v>
                </c:pt>
                <c:pt idx="2">
                  <c:v>14.285714285714283</c:v>
                </c:pt>
                <c:pt idx="3">
                  <c:v>18.75</c:v>
                </c:pt>
                <c:pt idx="4">
                  <c:v>33.333333333333336</c:v>
                </c:pt>
                <c:pt idx="5">
                  <c:v>14.285714285714285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BA3-4AF9-B17B-B9B9F235DB30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B-FBA3-4AF9-B17B-B9B9F235DB30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BA3-4AF9-B17B-B9B9F235DB30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FBA3-4AF9-B17B-B9B9F235DB3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FBA3-4AF9-B17B-B9B9F235DB30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FBA3-4AF9-B17B-B9B9F235DB3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FBA3-4AF9-B17B-B9B9F235DB30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FBA3-4AF9-B17B-B9B9F235DB3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FBA3-4AF9-B17B-B9B9F235DB3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.000000000000004</c:v>
                </c:pt>
                <c:pt idx="1">
                  <c:v>19.23076923076923</c:v>
                </c:pt>
                <c:pt idx="2">
                  <c:v>14.285714285714285</c:v>
                </c:pt>
                <c:pt idx="3">
                  <c:v>25</c:v>
                </c:pt>
                <c:pt idx="4">
                  <c:v>33.333333333333329</c:v>
                </c:pt>
                <c:pt idx="5">
                  <c:v>21.428571428571427</c:v>
                </c:pt>
                <c:pt idx="6">
                  <c:v>33.3333333333333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BA3-4AF9-B17B-B9B9F235DB30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FBA3-4AF9-B17B-B9B9F235DB30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FBA3-4AF9-B17B-B9B9F235DB30}"/>
              </c:ext>
            </c:extLst>
          </c:dPt>
          <c:dLbls>
            <c:dLbl>
              <c:idx val="3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FBA3-4AF9-B17B-B9B9F235DB30}"/>
                </c:ext>
              </c:extLst>
            </c:dLbl>
            <c:dLbl>
              <c:idx val="4"/>
              <c:layout>
                <c:manualLayout>
                  <c:x val="5.5856413430295529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FBA3-4AF9-B17B-B9B9F235DB30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FBA3-4AF9-B17B-B9B9F235DB30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7.6923076923076987</c:v>
                </c:pt>
                <c:pt idx="2">
                  <c:v>7.142857142857145</c:v>
                </c:pt>
                <c:pt idx="3">
                  <c:v>6.25</c:v>
                </c:pt>
                <c:pt idx="4">
                  <c:v>5.555555555555558</c:v>
                </c:pt>
                <c:pt idx="5">
                  <c:v>42.857142857142854</c:v>
                </c:pt>
                <c:pt idx="6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FBA3-4AF9-B17B-B9B9F235DB30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FBA3-4AF9-B17B-B9B9F235DB30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FBA3-4AF9-B17B-B9B9F235DB30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FBA3-4AF9-B17B-B9B9F235DB3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FBA3-4AF9-B17B-B9B9F235DB30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FBA3-4AF9-B17B-B9B9F235DB30}"/>
                </c:ext>
              </c:extLst>
            </c:dLbl>
            <c:dLbl>
              <c:idx val="3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FBA3-4AF9-B17B-B9B9F235DB30}"/>
                </c:ext>
              </c:extLst>
            </c:dLbl>
            <c:dLbl>
              <c:idx val="4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FBA3-4AF9-B17B-B9B9F235DB30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FBA3-4AF9-B17B-B9B9F235DB30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11.538461538461542</c:v>
                </c:pt>
                <c:pt idx="2">
                  <c:v>7.1428571428571397</c:v>
                </c:pt>
                <c:pt idx="3">
                  <c:v>12.5</c:v>
                </c:pt>
                <c:pt idx="4">
                  <c:v>11.111111111111116</c:v>
                </c:pt>
                <c:pt idx="5">
                  <c:v>14.28571428571429</c:v>
                </c:pt>
                <c:pt idx="6">
                  <c:v>8.3333333333333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FBA3-4AF9-B17B-B9B9F235DB30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FBA3-4AF9-B17B-B9B9F235DB30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1-FBA3-4AF9-B17B-B9B9F235DB30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FBA3-4AF9-B17B-B9B9F235DB30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FBA3-4AF9-B17B-B9B9F235DB30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FBA3-4AF9-B17B-B9B9F235DB30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.000000000000002</c:v>
                </c:pt>
                <c:pt idx="1">
                  <c:v>7.6923076923076872</c:v>
                </c:pt>
                <c:pt idx="2">
                  <c:v>21.428571428571431</c:v>
                </c:pt>
                <c:pt idx="3">
                  <c:v>6.25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6-FBA3-4AF9-B17B-B9B9F235DB30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FBA3-4AF9-B17B-B9B9F235DB30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8-FBA3-4AF9-B17B-B9B9F235DB30}"/>
              </c:ext>
            </c:extLst>
          </c:dPt>
          <c:dLbls>
            <c:dLbl>
              <c:idx val="0"/>
              <c:layout>
                <c:manualLayout>
                  <c:x val="5.5856413430295529E-2"/>
                  <c:y val="6.8694798822374874E-3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FBA3-4AF9-B17B-B9B9F235DB30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FBA3-4AF9-B17B-B9B9F235DB3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4.9999999999999929</c:v>
                </c:pt>
                <c:pt idx="1">
                  <c:v>0</c:v>
                </c:pt>
                <c:pt idx="2">
                  <c:v>14.28571428571429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FBA3-4AF9-B17B-B9B9F235DB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125201999"/>
        <c:axId val="1"/>
      </c:barChart>
      <c:catAx>
        <c:axId val="212520199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12520199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356667722521381E-3"/>
          <c:y val="8.2433758586849856E-2"/>
          <c:w val="0.98352866645549575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5D8-42AF-9EFC-3865466F884B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5D8-42AF-9EFC-3865466F884B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65D8-42AF-9EFC-3865466F884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65D8-42AF-9EFC-3865466F884B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1.521099116781158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5D8-42AF-9EFC-3865466F884B}"/>
                </c:ext>
              </c:extLst>
            </c:dLbl>
            <c:dLbl>
              <c:idx val="4"/>
              <c:layout>
                <c:manualLayout>
                  <c:x val="4.7355083940449794E-2"/>
                  <c:y val="-2.355250245338567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65D8-42AF-9EFC-3865466F884B}"/>
                </c:ext>
              </c:extLst>
            </c:dLbl>
            <c:dLbl>
              <c:idx val="5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5D8-42AF-9EFC-3865466F884B}"/>
                </c:ext>
              </c:extLst>
            </c:dLbl>
            <c:dLbl>
              <c:idx val="6"/>
              <c:layout>
                <c:manualLayout>
                  <c:x val="4.7355083940449794E-2"/>
                  <c:y val="-3.189401373895976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20</c:v>
                </c:pt>
                <c:pt idx="1">
                  <c:v>9</c:v>
                </c:pt>
                <c:pt idx="2">
                  <c:v>3</c:v>
                </c:pt>
                <c:pt idx="3">
                  <c:v>5</c:v>
                </c:pt>
                <c:pt idx="4">
                  <c:v>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5D8-42AF-9EFC-3865466F884B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65D8-42AF-9EFC-3865466F884B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65D8-42AF-9EFC-3865466F884B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5.642787046123650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5.93719332679097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3.827281648675171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65D8-42AF-9EFC-3865466F884B}"/>
                </c:ext>
              </c:extLst>
            </c:dLbl>
            <c:dLbl>
              <c:idx val="4"/>
              <c:layout>
                <c:manualLayout>
                  <c:x val="4.7355083940449794E-2"/>
                  <c:y val="-4.2688910696761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65D8-42AF-9EFC-3865466F884B}"/>
                </c:ext>
              </c:extLst>
            </c:dLbl>
            <c:dLbl>
              <c:idx val="5"/>
              <c:layout>
                <c:manualLayout>
                  <c:x val="4.7355083940449794E-2"/>
                  <c:y val="-7.6054955839057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5D8-42AF-9EFC-3865466F884B}"/>
                </c:ext>
              </c:extLst>
            </c:dLbl>
            <c:dLbl>
              <c:idx val="6"/>
              <c:layout>
                <c:manualLayout>
                  <c:x val="4.7355083940449794E-2"/>
                  <c:y val="-7.16388616290480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7</c:v>
                </c:pt>
                <c:pt idx="1">
                  <c:v>5</c:v>
                </c:pt>
                <c:pt idx="2">
                  <c:v>2</c:v>
                </c:pt>
                <c:pt idx="3">
                  <c:v>3</c:v>
                </c:pt>
                <c:pt idx="4">
                  <c:v>6</c:v>
                </c:pt>
                <c:pt idx="5">
                  <c:v>2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65D8-42AF-9EFC-3865466F884B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65D8-42AF-9EFC-3865466F884B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65D8-42AF-9EFC-3865466F884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5D8-42AF-9EFC-3865466F884B}"/>
                </c:ext>
              </c:extLst>
            </c:dLbl>
            <c:dLbl>
              <c:idx val="1"/>
              <c:layout>
                <c:manualLayout>
                  <c:x val="4.7355083940449794E-2"/>
                  <c:y val="4.170755642787046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6.575073601570166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5D8-42AF-9EFC-3865466F884B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5D8-42AF-9EFC-3865466F884B}"/>
                </c:ext>
              </c:extLst>
            </c:dLbl>
            <c:dLbl>
              <c:idx val="5"/>
              <c:layout>
                <c:manualLayout>
                  <c:x val="4.7355083940449794E-2"/>
                  <c:y val="-0.1113837095191364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5D8-42AF-9EFC-3865466F884B}"/>
                </c:ext>
              </c:extLst>
            </c:dLbl>
            <c:dLbl>
              <c:idx val="6"/>
              <c:layout>
                <c:manualLayout>
                  <c:x val="4.7355083940449794E-2"/>
                  <c:y val="-9.911678115799803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8</c:v>
                </c:pt>
                <c:pt idx="1">
                  <c:v>5</c:v>
                </c:pt>
                <c:pt idx="2">
                  <c:v>2</c:v>
                </c:pt>
                <c:pt idx="3">
                  <c:v>4</c:v>
                </c:pt>
                <c:pt idx="4">
                  <c:v>6</c:v>
                </c:pt>
                <c:pt idx="5">
                  <c:v>3</c:v>
                </c:pt>
                <c:pt idx="6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65D8-42AF-9EFC-3865466F884B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65D8-42AF-9EFC-3865466F884B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65D8-42AF-9EFC-3865466F884B}"/>
              </c:ext>
            </c:extLst>
          </c:dPt>
          <c:dLbls>
            <c:dLbl>
              <c:idx val="1"/>
              <c:layout>
                <c:manualLayout>
                  <c:x val="4.7355083940449794E-2"/>
                  <c:y val="1.42296368989205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0.1010794896957801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5D8-42AF-9EFC-3865466F884B}"/>
                </c:ext>
              </c:extLst>
            </c:dLbl>
            <c:dLbl>
              <c:idx val="4"/>
              <c:layout>
                <c:manualLayout>
                  <c:x val="4.7355083940449794E-2"/>
                  <c:y val="-1.96270853778213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5D8-42AF-9EFC-3865466F884B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5D8-42AF-9EFC-3865466F884B}"/>
                </c:ext>
              </c:extLst>
            </c:dLbl>
            <c:dLbl>
              <c:idx val="6"/>
              <c:layout>
                <c:manualLayout>
                  <c:x val="4.7355083940449794E-2"/>
                  <c:y val="-0.1261040235525024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2</c:v>
                </c:pt>
                <c:pt idx="1">
                  <c:v>2</c:v>
                </c:pt>
                <c:pt idx="2">
                  <c:v>1</c:v>
                </c:pt>
                <c:pt idx="3">
                  <c:v>1</c:v>
                </c:pt>
                <c:pt idx="4">
                  <c:v>1</c:v>
                </c:pt>
                <c:pt idx="5">
                  <c:v>6</c:v>
                </c:pt>
                <c:pt idx="6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C-65D8-42AF-9EFC-3865466F884B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65D8-42AF-9EFC-3865466F884B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E-65D8-42AF-9EFC-3865466F884B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65D8-42AF-9EFC-3865466F884B}"/>
                </c:ext>
              </c:extLst>
            </c:dLbl>
            <c:dLbl>
              <c:idx val="1"/>
              <c:layout>
                <c:manualLayout>
                  <c:x val="4.7355083940449794E-2"/>
                  <c:y val="-2.109911678115799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0.1344455348380765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0.145240431795878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65D8-42AF-9EFC-3865466F884B}"/>
                </c:ext>
              </c:extLst>
            </c:dLbl>
            <c:dLbl>
              <c:idx val="4"/>
              <c:layout>
                <c:manualLayout>
                  <c:x val="4.7355083940449794E-2"/>
                  <c:y val="-6.378802747791953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65D8-42AF-9EFC-3865466F884B}"/>
                </c:ext>
              </c:extLst>
            </c:dLbl>
            <c:dLbl>
              <c:idx val="5"/>
              <c:layout>
                <c:manualLayout>
                  <c:x val="4.7355083940449794E-2"/>
                  <c:y val="-9.71540726202159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65D8-42AF-9EFC-3865466F884B}"/>
                </c:ext>
              </c:extLst>
            </c:dLbl>
            <c:dLbl>
              <c:idx val="6"/>
              <c:layout>
                <c:manualLayout>
                  <c:x val="4.7355083940449794E-2"/>
                  <c:y val="-0.1658488714425907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3</c:v>
                </c:pt>
                <c:pt idx="1">
                  <c:v>3</c:v>
                </c:pt>
                <c:pt idx="2">
                  <c:v>1</c:v>
                </c:pt>
                <c:pt idx="3">
                  <c:v>2</c:v>
                </c:pt>
                <c:pt idx="4">
                  <c:v>2</c:v>
                </c:pt>
                <c:pt idx="5">
                  <c:v>2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4-65D8-42AF-9EFC-3865466F884B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5-65D8-42AF-9EFC-3865466F884B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65D8-42AF-9EFC-3865466F884B}"/>
              </c:ext>
            </c:extLst>
          </c:dPt>
          <c:dLbls>
            <c:dLbl>
              <c:idx val="0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65D8-42AF-9EFC-3865466F884B}"/>
                </c:ext>
              </c:extLst>
            </c:dLbl>
            <c:dLbl>
              <c:idx val="1"/>
              <c:layout>
                <c:manualLayout>
                  <c:x val="4.7355083940449794E-2"/>
                  <c:y val="-5.69185475956820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0.1741903827281648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65D8-42AF-9EFC-3865466F884B}"/>
                </c:ext>
              </c:extLst>
            </c:dLbl>
            <c:dLbl>
              <c:idx val="3"/>
              <c:layout>
                <c:manualLayout>
                  <c:x val="4.7355083940449794E-2"/>
                  <c:y val="-0.188910696761530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A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15</c:v>
                </c:pt>
                <c:pt idx="1">
                  <c:v>2</c:v>
                </c:pt>
                <c:pt idx="2">
                  <c:v>3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65D8-42AF-9EFC-3865466F884B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C-65D8-42AF-9EFC-3865466F884B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D-65D8-42AF-9EFC-3865466F884B}"/>
              </c:ext>
            </c:extLst>
          </c:dPt>
          <c:dLbls>
            <c:dLbl>
              <c:idx val="0"/>
              <c:layout>
                <c:manualLayout>
                  <c:x val="4.7355083940449794E-2"/>
                  <c:y val="6.8694798822374874E-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E-65D8-42AF-9EFC-3865466F884B}"/>
                </c:ext>
              </c:extLst>
            </c:dLbl>
            <c:dLbl>
              <c:idx val="2"/>
              <c:layout>
                <c:manualLayout>
                  <c:x val="4.7355083940449794E-2"/>
                  <c:y val="-0.2100098135426889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F-65D8-42AF-9EFC-3865466F884B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5</c:v>
                </c:pt>
                <c:pt idx="1">
                  <c:v>0</c:v>
                </c:pt>
                <c:pt idx="2">
                  <c:v>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30-65D8-42AF-9EFC-3865466F88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7995168"/>
        <c:axId val="1"/>
      </c:barChart>
      <c:catAx>
        <c:axId val="47799516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47799516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74010079193669E-3"/>
          <c:y val="2.2241231822070145E-2"/>
          <c:w val="0.98502519798416122"/>
          <c:h val="0.955517536355859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ABC-43D2-BDFA-E11D79FB13ED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ABC-43D2-BDFA-E11D79FB13ED}"/>
              </c:ext>
            </c:extLst>
          </c:dPt>
          <c:dPt>
            <c:idx val="4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BABC-43D2-BDFA-E11D79FB13ED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0.526315789473683</c:v>
                </c:pt>
                <c:pt idx="1">
                  <c:v>8.9552238805970159</c:v>
                </c:pt>
                <c:pt idx="2">
                  <c:v>11.594202898550725</c:v>
                </c:pt>
                <c:pt idx="3">
                  <c:v>11.594202898550725</c:v>
                </c:pt>
                <c:pt idx="4">
                  <c:v>11.8677592540265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ABC-43D2-BDFA-E11D79FB13ED}"/>
            </c:ext>
          </c:extLst>
        </c:ser>
        <c:ser>
          <c:idx val="1"/>
          <c:order val="1"/>
          <c:spPr>
            <a:solidFill>
              <a:srgbClr val="BAB9BA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BABC-43D2-BDFA-E11D79FB13ED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BABC-43D2-BDFA-E11D79FB13ED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BABC-43D2-BDFA-E11D79FB13ED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4.035087719298245</c:v>
                </c:pt>
                <c:pt idx="1">
                  <c:v>11.940298507462687</c:v>
                </c:pt>
                <c:pt idx="2">
                  <c:v>20.289855072463769</c:v>
                </c:pt>
                <c:pt idx="3">
                  <c:v>20.289855072463769</c:v>
                </c:pt>
                <c:pt idx="4">
                  <c:v>21.1924272393331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BABC-43D2-BDFA-E11D79FB13ED}"/>
            </c:ext>
          </c:extLst>
        </c:ser>
        <c:ser>
          <c:idx val="2"/>
          <c:order val="2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AB9BA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BABC-43D2-BDFA-E11D79FB13ED}"/>
              </c:ext>
            </c:extLst>
          </c:dPt>
          <c:dPt>
            <c:idx val="3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BABC-43D2-BDFA-E11D79FB13ED}"/>
              </c:ext>
            </c:extLst>
          </c:dPt>
          <c:dPt>
            <c:idx val="4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BABC-43D2-BDFA-E11D79FB13ED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24.561403508771928</c:v>
                </c:pt>
                <c:pt idx="1">
                  <c:v>20.895522388059703</c:v>
                </c:pt>
                <c:pt idx="2">
                  <c:v>7.2463768115942013</c:v>
                </c:pt>
                <c:pt idx="3">
                  <c:v>7.2463768115942013</c:v>
                </c:pt>
                <c:pt idx="4">
                  <c:v>8.47697089573325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ABC-43D2-BDFA-E11D79FB13ED}"/>
            </c:ext>
          </c:extLst>
        </c:ser>
        <c:ser>
          <c:idx val="3"/>
          <c:order val="3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BABC-43D2-BDFA-E11D79FB13ED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BABC-43D2-BDFA-E11D79FB13ED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8.7719298245614077</c:v>
                </c:pt>
                <c:pt idx="1">
                  <c:v>7.4626865671641784</c:v>
                </c:pt>
                <c:pt idx="2">
                  <c:v>5.7971014492753605</c:v>
                </c:pt>
                <c:pt idx="3">
                  <c:v>5.7971014492753605</c:v>
                </c:pt>
                <c:pt idx="4">
                  <c:v>5.0861825374399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BABC-43D2-BDFA-E11D79FB13ED}"/>
            </c:ext>
          </c:extLst>
        </c:ser>
        <c:ser>
          <c:idx val="4"/>
          <c:order val="4"/>
          <c:spPr>
            <a:solidFill>
              <a:srgbClr val="43868B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BABC-43D2-BDFA-E11D79FB13ED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BABC-43D2-BDFA-E11D79FB13ED}"/>
              </c:ext>
            </c:extLst>
          </c:dPt>
          <c:dPt>
            <c:idx val="2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FFC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BABC-43D2-BDFA-E11D79FB13ED}"/>
              </c:ext>
            </c:extLst>
          </c:dPt>
          <c:val>
            <c:numRef>
              <c:f>Sheet1!$A$5:$E$5</c:f>
              <c:numCache>
                <c:formatCode>General</c:formatCode>
                <c:ptCount val="5"/>
                <c:pt idx="0">
                  <c:v>7.0175438596491224</c:v>
                </c:pt>
                <c:pt idx="1">
                  <c:v>5.9701492537313436</c:v>
                </c:pt>
                <c:pt idx="2">
                  <c:v>14.492753623188403</c:v>
                </c:pt>
                <c:pt idx="3">
                  <c:v>14.492753623188403</c:v>
                </c:pt>
                <c:pt idx="4">
                  <c:v>11.5569369878496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ABC-43D2-BDFA-E11D79FB13ED}"/>
            </c:ext>
          </c:extLst>
        </c:ser>
        <c:ser>
          <c:idx val="5"/>
          <c:order val="5"/>
          <c:spPr>
            <a:solidFill>
              <a:srgbClr val="82AEB1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BABC-43D2-BDFA-E11D79FB13ED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BABC-43D2-BDFA-E11D79FB13ED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BABC-43D2-BDFA-E11D79FB13ED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17.543859649122805</c:v>
                </c:pt>
                <c:pt idx="1">
                  <c:v>14.925373134328357</c:v>
                </c:pt>
                <c:pt idx="2">
                  <c:v>11.594202898550721</c:v>
                </c:pt>
                <c:pt idx="3">
                  <c:v>11.594202898550721</c:v>
                </c:pt>
                <c:pt idx="4">
                  <c:v>11.867759254026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BABC-43D2-BDFA-E11D79FB13ED}"/>
            </c:ext>
          </c:extLst>
        </c:ser>
        <c:ser>
          <c:idx val="6"/>
          <c:order val="6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BABC-43D2-BDFA-E11D79FB13ED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BABC-43D2-BDFA-E11D79FB13ED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BABC-43D2-BDFA-E11D79FB13ED}"/>
              </c:ext>
            </c:extLst>
          </c:dPt>
          <c:val>
            <c:numRef>
              <c:f>Sheet1!$A$7:$E$7</c:f>
              <c:numCache>
                <c:formatCode>General</c:formatCode>
                <c:ptCount val="5"/>
                <c:pt idx="0">
                  <c:v>14.035087719298245</c:v>
                </c:pt>
                <c:pt idx="1">
                  <c:v>11.940298507462687</c:v>
                </c:pt>
                <c:pt idx="2">
                  <c:v>2.8985507246376829</c:v>
                </c:pt>
                <c:pt idx="3">
                  <c:v>2.8985507246376829</c:v>
                </c:pt>
                <c:pt idx="4">
                  <c:v>2.8256569652444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BABC-43D2-BDFA-E11D79FB13ED}"/>
            </c:ext>
          </c:extLst>
        </c:ser>
        <c:ser>
          <c:idx val="7"/>
          <c:order val="7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BABC-43D2-BDFA-E11D79FB13ED}"/>
              </c:ext>
            </c:extLst>
          </c:dPt>
          <c:dPt>
            <c:idx val="1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BABC-43D2-BDFA-E11D79FB13ED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BABC-43D2-BDFA-E11D79FB13ED}"/>
              </c:ext>
            </c:extLst>
          </c:dPt>
          <c:val>
            <c:numRef>
              <c:f>Sheet1!$A$8:$E$8</c:f>
              <c:numCache>
                <c:formatCode>General</c:formatCode>
                <c:ptCount val="5"/>
                <c:pt idx="0">
                  <c:v>3.5087719298245612</c:v>
                </c:pt>
                <c:pt idx="1">
                  <c:v>2.9850746268656692</c:v>
                </c:pt>
                <c:pt idx="2">
                  <c:v>14.492753623188403</c:v>
                </c:pt>
                <c:pt idx="3">
                  <c:v>14.492753623188403</c:v>
                </c:pt>
                <c:pt idx="4">
                  <c:v>14.4108505227465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BABC-43D2-BDFA-E11D79FB13ED}"/>
            </c:ext>
          </c:extLst>
        </c:ser>
        <c:ser>
          <c:idx val="8"/>
          <c:order val="8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BABC-43D2-BDFA-E11D79FB13ED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BABC-43D2-BDFA-E11D79FB13ED}"/>
              </c:ext>
            </c:extLst>
          </c:dPt>
          <c:val>
            <c:numRef>
              <c:f>Sheet1!$A$9:$E$9</c:f>
              <c:numCache>
                <c:formatCode>General</c:formatCode>
                <c:ptCount val="5"/>
                <c:pt idx="1">
                  <c:v>14.925373134328357</c:v>
                </c:pt>
                <c:pt idx="2">
                  <c:v>11.594202898550721</c:v>
                </c:pt>
                <c:pt idx="3">
                  <c:v>11.594202898550721</c:v>
                </c:pt>
                <c:pt idx="4">
                  <c:v>12.715456343599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BABC-43D2-BDFA-E11D79FB13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5618960"/>
        <c:axId val="1"/>
      </c:barChart>
      <c:catAx>
        <c:axId val="113561896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3561896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74010079193669E-3"/>
          <c:y val="2.2241231822070145E-2"/>
          <c:w val="0.98502519798416122"/>
          <c:h val="0.955517536355859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FAA0-4F4C-BE20-AB3B4010DDC2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AA0-4F4C-BE20-AB3B4010DDC2}"/>
              </c:ext>
            </c:extLst>
          </c:dPt>
          <c:dPt>
            <c:idx val="4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FAA0-4F4C-BE20-AB3B4010DDC2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300</c:v>
                </c:pt>
                <c:pt idx="1">
                  <c:v>300</c:v>
                </c:pt>
                <c:pt idx="2">
                  <c:v>400</c:v>
                </c:pt>
                <c:pt idx="3">
                  <c:v>400</c:v>
                </c:pt>
                <c:pt idx="4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FAA0-4F4C-BE20-AB3B4010DDC2}"/>
            </c:ext>
          </c:extLst>
        </c:ser>
        <c:ser>
          <c:idx val="1"/>
          <c:order val="1"/>
          <c:spPr>
            <a:solidFill>
              <a:srgbClr val="BAB9BA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FAA0-4F4C-BE20-AB3B4010DDC2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FAA0-4F4C-BE20-AB3B4010DDC2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FAA0-4F4C-BE20-AB3B4010DDC2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400</c:v>
                </c:pt>
                <c:pt idx="1">
                  <c:v>400</c:v>
                </c:pt>
                <c:pt idx="2">
                  <c:v>700</c:v>
                </c:pt>
                <c:pt idx="3">
                  <c:v>700</c:v>
                </c:pt>
                <c:pt idx="4">
                  <c:v>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FAA0-4F4C-BE20-AB3B4010DDC2}"/>
            </c:ext>
          </c:extLst>
        </c:ser>
        <c:ser>
          <c:idx val="2"/>
          <c:order val="2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AB9BA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FAA0-4F4C-BE20-AB3B4010DDC2}"/>
              </c:ext>
            </c:extLst>
          </c:dPt>
          <c:dPt>
            <c:idx val="3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FAA0-4F4C-BE20-AB3B4010DDC2}"/>
              </c:ext>
            </c:extLst>
          </c:dPt>
          <c:dPt>
            <c:idx val="4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FAA0-4F4C-BE20-AB3B4010DDC2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700</c:v>
                </c:pt>
                <c:pt idx="1">
                  <c:v>700</c:v>
                </c:pt>
                <c:pt idx="2">
                  <c:v>250</c:v>
                </c:pt>
                <c:pt idx="3">
                  <c:v>250</c:v>
                </c:pt>
                <c:pt idx="4">
                  <c:v>3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AA0-4F4C-BE20-AB3B4010DDC2}"/>
            </c:ext>
          </c:extLst>
        </c:ser>
        <c:ser>
          <c:idx val="3"/>
          <c:order val="3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FAA0-4F4C-BE20-AB3B4010DDC2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FAA0-4F4C-BE20-AB3B4010DDC2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250</c:v>
                </c:pt>
                <c:pt idx="1">
                  <c:v>250</c:v>
                </c:pt>
                <c:pt idx="2">
                  <c:v>200</c:v>
                </c:pt>
                <c:pt idx="3">
                  <c:v>200</c:v>
                </c:pt>
                <c:pt idx="4">
                  <c:v>1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FAA0-4F4C-BE20-AB3B4010DDC2}"/>
            </c:ext>
          </c:extLst>
        </c:ser>
        <c:ser>
          <c:idx val="4"/>
          <c:order val="4"/>
          <c:spPr>
            <a:solidFill>
              <a:srgbClr val="43868B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FAA0-4F4C-BE20-AB3B4010DDC2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FAA0-4F4C-BE20-AB3B4010DDC2}"/>
              </c:ext>
            </c:extLst>
          </c:dPt>
          <c:dPt>
            <c:idx val="2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FFC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FAA0-4F4C-BE20-AB3B4010DDC2}"/>
              </c:ext>
            </c:extLst>
          </c:dPt>
          <c:val>
            <c:numRef>
              <c:f>Sheet1!$A$5:$E$5</c:f>
              <c:numCache>
                <c:formatCode>General</c:formatCode>
                <c:ptCount val="5"/>
                <c:pt idx="0">
                  <c:v>200</c:v>
                </c:pt>
                <c:pt idx="1">
                  <c:v>200</c:v>
                </c:pt>
                <c:pt idx="2">
                  <c:v>500</c:v>
                </c:pt>
                <c:pt idx="3">
                  <c:v>500</c:v>
                </c:pt>
                <c:pt idx="4">
                  <c:v>4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FAA0-4F4C-BE20-AB3B4010DDC2}"/>
            </c:ext>
          </c:extLst>
        </c:ser>
        <c:ser>
          <c:idx val="5"/>
          <c:order val="5"/>
          <c:spPr>
            <a:solidFill>
              <a:srgbClr val="82AEB1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FAA0-4F4C-BE20-AB3B4010DDC2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FAA0-4F4C-BE20-AB3B4010DDC2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FAA0-4F4C-BE20-AB3B4010DDC2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500</c:v>
                </c:pt>
                <c:pt idx="1">
                  <c:v>500</c:v>
                </c:pt>
                <c:pt idx="2">
                  <c:v>400</c:v>
                </c:pt>
                <c:pt idx="3">
                  <c:v>400</c:v>
                </c:pt>
                <c:pt idx="4">
                  <c:v>4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FAA0-4F4C-BE20-AB3B4010DDC2}"/>
            </c:ext>
          </c:extLst>
        </c:ser>
        <c:ser>
          <c:idx val="6"/>
          <c:order val="6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FAA0-4F4C-BE20-AB3B4010DDC2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FAA0-4F4C-BE20-AB3B4010DDC2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FAA0-4F4C-BE20-AB3B4010DDC2}"/>
              </c:ext>
            </c:extLst>
          </c:dPt>
          <c:val>
            <c:numRef>
              <c:f>Sheet1!$A$7:$E$7</c:f>
              <c:numCache>
                <c:formatCode>General</c:formatCode>
                <c:ptCount val="5"/>
                <c:pt idx="0">
                  <c:v>400</c:v>
                </c:pt>
                <c:pt idx="1">
                  <c:v>400</c:v>
                </c:pt>
                <c:pt idx="2">
                  <c:v>100</c:v>
                </c:pt>
                <c:pt idx="3">
                  <c:v>100</c:v>
                </c:pt>
                <c:pt idx="4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FAA0-4F4C-BE20-AB3B4010DDC2}"/>
            </c:ext>
          </c:extLst>
        </c:ser>
        <c:ser>
          <c:idx val="7"/>
          <c:order val="7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FAA0-4F4C-BE20-AB3B4010DDC2}"/>
              </c:ext>
            </c:extLst>
          </c:dPt>
          <c:dPt>
            <c:idx val="1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FAA0-4F4C-BE20-AB3B4010DDC2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FAA0-4F4C-BE20-AB3B4010DDC2}"/>
              </c:ext>
            </c:extLst>
          </c:dPt>
          <c:val>
            <c:numRef>
              <c:f>Sheet1!$A$8:$E$8</c:f>
              <c:numCache>
                <c:formatCode>General</c:formatCode>
                <c:ptCount val="5"/>
                <c:pt idx="0">
                  <c:v>100</c:v>
                </c:pt>
                <c:pt idx="1">
                  <c:v>100</c:v>
                </c:pt>
                <c:pt idx="2">
                  <c:v>500</c:v>
                </c:pt>
                <c:pt idx="3">
                  <c:v>500</c:v>
                </c:pt>
                <c:pt idx="4">
                  <c:v>5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FAA0-4F4C-BE20-AB3B4010DDC2}"/>
            </c:ext>
          </c:extLst>
        </c:ser>
        <c:ser>
          <c:idx val="8"/>
          <c:order val="8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FAA0-4F4C-BE20-AB3B4010DDC2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FAA0-4F4C-BE20-AB3B4010DDC2}"/>
              </c:ext>
            </c:extLst>
          </c:dPt>
          <c:val>
            <c:numRef>
              <c:f>Sheet1!$A$9:$E$9</c:f>
              <c:numCache>
                <c:formatCode>General</c:formatCode>
                <c:ptCount val="5"/>
                <c:pt idx="1">
                  <c:v>500</c:v>
                </c:pt>
                <c:pt idx="2">
                  <c:v>400</c:v>
                </c:pt>
                <c:pt idx="3">
                  <c:v>400</c:v>
                </c:pt>
                <c:pt idx="4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FAA0-4F4C-BE20-AB3B4010DD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7210352"/>
        <c:axId val="1"/>
      </c:barChart>
      <c:catAx>
        <c:axId val="114721035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4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4721035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4874010079193669E-3"/>
          <c:y val="2.2241231822070145E-2"/>
          <c:w val="0.98502519798416122"/>
          <c:h val="0.955517536355859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9356-4E2B-B70E-55082B3CE0E1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9356-4E2B-B70E-55082B3CE0E1}"/>
              </c:ext>
            </c:extLst>
          </c:dPt>
          <c:dPt>
            <c:idx val="4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9356-4E2B-B70E-55082B3CE0E1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3.973268529769136</c:v>
                </c:pt>
                <c:pt idx="1">
                  <c:v>9.1210613598673298</c:v>
                </c:pt>
                <c:pt idx="2">
                  <c:v>11.479591836734695</c:v>
                </c:pt>
                <c:pt idx="3">
                  <c:v>8.7183958151700107</c:v>
                </c:pt>
                <c:pt idx="4">
                  <c:v>11.6648992576882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9356-4E2B-B70E-55082B3CE0E1}"/>
            </c:ext>
          </c:extLst>
        </c:ser>
        <c:ser>
          <c:idx val="1"/>
          <c:order val="1"/>
          <c:spPr>
            <a:solidFill>
              <a:srgbClr val="BAB9BA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9356-4E2B-B70E-55082B3CE0E1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356-4E2B-B70E-55082B3CE0E1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9356-4E2B-B70E-55082B3CE0E1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8.226002430133654</c:v>
                </c:pt>
                <c:pt idx="1">
                  <c:v>11.608623548922056</c:v>
                </c:pt>
                <c:pt idx="2">
                  <c:v>19.982993197278915</c:v>
                </c:pt>
                <c:pt idx="3">
                  <c:v>19.18047079337402</c:v>
                </c:pt>
                <c:pt idx="4">
                  <c:v>15.9066808059384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356-4E2B-B70E-55082B3CE0E1}"/>
            </c:ext>
          </c:extLst>
        </c:ser>
        <c:ser>
          <c:idx val="2"/>
          <c:order val="2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AB9BA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9356-4E2B-B70E-55082B3CE0E1}"/>
              </c:ext>
            </c:extLst>
          </c:dPt>
          <c:dPt>
            <c:idx val="3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9356-4E2B-B70E-55082B3CE0E1}"/>
              </c:ext>
            </c:extLst>
          </c:dPt>
          <c:dPt>
            <c:idx val="4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9356-4E2B-B70E-55082B3CE0E1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3.1591737545564991</c:v>
                </c:pt>
                <c:pt idx="1">
                  <c:v>21.558872305140959</c:v>
                </c:pt>
                <c:pt idx="2">
                  <c:v>6.9727891156462549</c:v>
                </c:pt>
                <c:pt idx="3">
                  <c:v>7.1490845684394069</c:v>
                </c:pt>
                <c:pt idx="4">
                  <c:v>7.95334040296924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56-4E2B-B70E-55082B3CE0E1}"/>
            </c:ext>
          </c:extLst>
        </c:ser>
        <c:ser>
          <c:idx val="3"/>
          <c:order val="3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9356-4E2B-B70E-55082B3CE0E1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9356-4E2B-B70E-55082B3CE0E1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11.543134872417982</c:v>
                </c:pt>
                <c:pt idx="1">
                  <c:v>7.4626865671641784</c:v>
                </c:pt>
                <c:pt idx="2">
                  <c:v>5.9523809523809534</c:v>
                </c:pt>
                <c:pt idx="3">
                  <c:v>6.1028770706190061</c:v>
                </c:pt>
                <c:pt idx="4">
                  <c:v>6.36267232237539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9356-4E2B-B70E-55082B3CE0E1}"/>
            </c:ext>
          </c:extLst>
        </c:ser>
        <c:ser>
          <c:idx val="4"/>
          <c:order val="4"/>
          <c:spPr>
            <a:solidFill>
              <a:srgbClr val="43868B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9356-4E2B-B70E-55082B3CE0E1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9356-4E2B-B70E-55082B3CE0E1}"/>
              </c:ext>
            </c:extLst>
          </c:dPt>
          <c:dPt>
            <c:idx val="2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FFC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9356-4E2B-B70E-55082B3CE0E1}"/>
              </c:ext>
            </c:extLst>
          </c:dPt>
          <c:val>
            <c:numRef>
              <c:f>Sheet1!$A$5:$E$5</c:f>
              <c:numCache>
                <c:formatCode>General</c:formatCode>
                <c:ptCount val="5"/>
                <c:pt idx="0">
                  <c:v>8.5054678007290381</c:v>
                </c:pt>
                <c:pt idx="1">
                  <c:v>5.8043117744610235</c:v>
                </c:pt>
                <c:pt idx="2">
                  <c:v>14.455782312925169</c:v>
                </c:pt>
                <c:pt idx="3">
                  <c:v>15.257192676547515</c:v>
                </c:pt>
                <c:pt idx="4">
                  <c:v>16.9671261930010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9356-4E2B-B70E-55082B3CE0E1}"/>
            </c:ext>
          </c:extLst>
        </c:ser>
        <c:ser>
          <c:idx val="5"/>
          <c:order val="5"/>
          <c:spPr>
            <a:solidFill>
              <a:srgbClr val="82AEB1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9356-4E2B-B70E-55082B3CE0E1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9356-4E2B-B70E-55082B3CE0E1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9356-4E2B-B70E-55082B3CE0E1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21.871202916160392</c:v>
                </c:pt>
                <c:pt idx="1">
                  <c:v>14.925373134328357</c:v>
                </c:pt>
                <c:pt idx="2">
                  <c:v>11.904761904761907</c:v>
                </c:pt>
                <c:pt idx="3">
                  <c:v>12.205754141238012</c:v>
                </c:pt>
                <c:pt idx="4">
                  <c:v>10.6044538706256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9356-4E2B-B70E-55082B3CE0E1}"/>
            </c:ext>
          </c:extLst>
        </c:ser>
        <c:ser>
          <c:idx val="6"/>
          <c:order val="6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9356-4E2B-B70E-55082B3CE0E1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9356-4E2B-B70E-55082B3CE0E1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9356-4E2B-B70E-55082B3CE0E1}"/>
              </c:ext>
            </c:extLst>
          </c:dPt>
          <c:val>
            <c:numRef>
              <c:f>Sheet1!$A$7:$E$7</c:f>
              <c:numCache>
                <c:formatCode>General</c:formatCode>
                <c:ptCount val="5"/>
                <c:pt idx="0">
                  <c:v>18.226002430133658</c:v>
                </c:pt>
                <c:pt idx="1">
                  <c:v>11.608623548922059</c:v>
                </c:pt>
                <c:pt idx="2">
                  <c:v>2.8911564625850317</c:v>
                </c:pt>
                <c:pt idx="3">
                  <c:v>2.6155187445510042</c:v>
                </c:pt>
                <c:pt idx="4">
                  <c:v>2.96924708377518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9356-4E2B-B70E-55082B3CE0E1}"/>
            </c:ext>
          </c:extLst>
        </c:ser>
        <c:ser>
          <c:idx val="7"/>
          <c:order val="7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9356-4E2B-B70E-55082B3CE0E1}"/>
              </c:ext>
            </c:extLst>
          </c:dPt>
          <c:dPt>
            <c:idx val="1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9356-4E2B-B70E-55082B3CE0E1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9356-4E2B-B70E-55082B3CE0E1}"/>
              </c:ext>
            </c:extLst>
          </c:dPt>
          <c:val>
            <c:numRef>
              <c:f>Sheet1!$A$8:$E$8</c:f>
              <c:numCache>
                <c:formatCode>General</c:formatCode>
                <c:ptCount val="5"/>
                <c:pt idx="0">
                  <c:v>4.4957472660996363</c:v>
                </c:pt>
                <c:pt idx="1">
                  <c:v>2.9850746268656692</c:v>
                </c:pt>
                <c:pt idx="2">
                  <c:v>14.455782312925169</c:v>
                </c:pt>
                <c:pt idx="3">
                  <c:v>14.821272885789016</c:v>
                </c:pt>
                <c:pt idx="4">
                  <c:v>15.90668080593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9356-4E2B-B70E-55082B3CE0E1}"/>
            </c:ext>
          </c:extLst>
        </c:ser>
        <c:ser>
          <c:idx val="8"/>
          <c:order val="8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9356-4E2B-B70E-55082B3CE0E1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9356-4E2B-B70E-55082B3CE0E1}"/>
              </c:ext>
            </c:extLst>
          </c:dPt>
          <c:val>
            <c:numRef>
              <c:f>Sheet1!$A$9:$E$9</c:f>
              <c:numCache>
                <c:formatCode>General</c:formatCode>
                <c:ptCount val="5"/>
                <c:pt idx="1">
                  <c:v>14.925373134328357</c:v>
                </c:pt>
                <c:pt idx="2">
                  <c:v>11.904761904761907</c:v>
                </c:pt>
                <c:pt idx="3">
                  <c:v>13.949433304272008</c:v>
                </c:pt>
                <c:pt idx="4">
                  <c:v>11.6648992576882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9356-4E2B-B70E-55082B3CE0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097392224"/>
        <c:axId val="1"/>
      </c:barChart>
      <c:catAx>
        <c:axId val="1097392224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097392224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145848586908768E-3"/>
          <c:y val="2.2241231822070145E-2"/>
          <c:w val="0.98477083028261825"/>
          <c:h val="0.9555175363558596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2AC6-4B70-84B4-08502FDF1AA4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AC6-4B70-84B4-08502FDF1AA4}"/>
              </c:ext>
            </c:extLst>
          </c:dPt>
          <c:dPt>
            <c:idx val="4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2AC6-4B70-84B4-08502FDF1AA4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150</c:v>
                </c:pt>
                <c:pt idx="1">
                  <c:v>1100</c:v>
                </c:pt>
                <c:pt idx="2">
                  <c:v>1350</c:v>
                </c:pt>
                <c:pt idx="3">
                  <c:v>1000</c:v>
                </c:pt>
                <c:pt idx="4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AC6-4B70-84B4-08502FDF1AA4}"/>
            </c:ext>
          </c:extLst>
        </c:ser>
        <c:ser>
          <c:idx val="1"/>
          <c:order val="1"/>
          <c:spPr>
            <a:solidFill>
              <a:srgbClr val="BAB9BA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2AC6-4B70-84B4-08502FDF1AA4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2AC6-4B70-84B4-08502FDF1AA4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6-2AC6-4B70-84B4-08502FDF1AA4}"/>
              </c:ext>
            </c:extLst>
          </c:dPt>
          <c:val>
            <c:numRef>
              <c:f>Sheet1!$A$2:$E$2</c:f>
              <c:numCache>
                <c:formatCode>General</c:formatCode>
                <c:ptCount val="5"/>
                <c:pt idx="0">
                  <c:v>1500</c:v>
                </c:pt>
                <c:pt idx="1">
                  <c:v>1400</c:v>
                </c:pt>
                <c:pt idx="2">
                  <c:v>2350</c:v>
                </c:pt>
                <c:pt idx="3">
                  <c:v>2200</c:v>
                </c:pt>
                <c:pt idx="4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AC6-4B70-84B4-08502FDF1AA4}"/>
            </c:ext>
          </c:extLst>
        </c:ser>
        <c:ser>
          <c:idx val="2"/>
          <c:order val="2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BAB9BA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2AC6-4B70-84B4-08502FDF1AA4}"/>
              </c:ext>
            </c:extLst>
          </c:dPt>
          <c:dPt>
            <c:idx val="3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2AC6-4B70-84B4-08502FDF1AA4}"/>
              </c:ext>
            </c:extLst>
          </c:dPt>
          <c:dPt>
            <c:idx val="4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2AC6-4B70-84B4-08502FDF1AA4}"/>
              </c:ext>
            </c:extLst>
          </c:dPt>
          <c:val>
            <c:numRef>
              <c:f>Sheet1!$A$3:$E$3</c:f>
              <c:numCache>
                <c:formatCode>General</c:formatCode>
                <c:ptCount val="5"/>
                <c:pt idx="0">
                  <c:v>260</c:v>
                </c:pt>
                <c:pt idx="1">
                  <c:v>2600</c:v>
                </c:pt>
                <c:pt idx="2">
                  <c:v>820</c:v>
                </c:pt>
                <c:pt idx="3">
                  <c:v>820</c:v>
                </c:pt>
                <c:pt idx="4">
                  <c:v>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AC6-4B70-84B4-08502FDF1AA4}"/>
            </c:ext>
          </c:extLst>
        </c:ser>
        <c:ser>
          <c:idx val="3"/>
          <c:order val="3"/>
          <c:spPr>
            <a:solidFill>
              <a:srgbClr val="F0F0F0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2AC6-4B70-84B4-08502FDF1AA4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19050" cmpd="sng" algn="ctr">
                <a:solidFill>
                  <a:srgbClr val="C8285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2AC6-4B70-84B4-08502FDF1AA4}"/>
              </c:ext>
            </c:extLst>
          </c:dPt>
          <c:val>
            <c:numRef>
              <c:f>Sheet1!$A$4:$E$4</c:f>
              <c:numCache>
                <c:formatCode>General</c:formatCode>
                <c:ptCount val="5"/>
                <c:pt idx="0">
                  <c:v>950</c:v>
                </c:pt>
                <c:pt idx="1">
                  <c:v>900</c:v>
                </c:pt>
                <c:pt idx="2">
                  <c:v>700</c:v>
                </c:pt>
                <c:pt idx="3">
                  <c:v>700</c:v>
                </c:pt>
                <c:pt idx="4">
                  <c:v>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2AC6-4B70-84B4-08502FDF1AA4}"/>
            </c:ext>
          </c:extLst>
        </c:ser>
        <c:ser>
          <c:idx val="4"/>
          <c:order val="4"/>
          <c:spPr>
            <a:solidFill>
              <a:srgbClr val="43868B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0F0F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F-2AC6-4B70-84B4-08502FDF1AA4}"/>
              </c:ext>
            </c:extLst>
          </c:dPt>
          <c:dPt>
            <c:idx val="1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2AC6-4B70-84B4-08502FDF1AA4}"/>
              </c:ext>
            </c:extLst>
          </c:dPt>
          <c:dPt>
            <c:idx val="2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FFC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1-2AC6-4B70-84B4-08502FDF1AA4}"/>
              </c:ext>
            </c:extLst>
          </c:dPt>
          <c:val>
            <c:numRef>
              <c:f>Sheet1!$A$5:$E$5</c:f>
              <c:numCache>
                <c:formatCode>General</c:formatCode>
                <c:ptCount val="5"/>
                <c:pt idx="0">
                  <c:v>700</c:v>
                </c:pt>
                <c:pt idx="1">
                  <c:v>700</c:v>
                </c:pt>
                <c:pt idx="2">
                  <c:v>1700</c:v>
                </c:pt>
                <c:pt idx="3">
                  <c:v>1750</c:v>
                </c:pt>
                <c:pt idx="4">
                  <c:v>16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2AC6-4B70-84B4-08502FDF1AA4}"/>
            </c:ext>
          </c:extLst>
        </c:ser>
        <c:ser>
          <c:idx val="5"/>
          <c:order val="5"/>
          <c:spPr>
            <a:solidFill>
              <a:srgbClr val="82AEB1"/>
            </a:solidFill>
            <a:ln w="19050" cmpd="sng" algn="ctr">
              <a:solidFill>
                <a:srgbClr val="FFC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13-2AC6-4B70-84B4-08502FDF1AA4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2AC6-4B70-84B4-08502FDF1AA4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2AC6-4B70-84B4-08502FDF1AA4}"/>
              </c:ext>
            </c:extLst>
          </c:dPt>
          <c:val>
            <c:numRef>
              <c:f>Sheet1!$A$6:$E$6</c:f>
              <c:numCache>
                <c:formatCode>General</c:formatCode>
                <c:ptCount val="5"/>
                <c:pt idx="0">
                  <c:v>1800</c:v>
                </c:pt>
                <c:pt idx="1">
                  <c:v>1800</c:v>
                </c:pt>
                <c:pt idx="2">
                  <c:v>1400</c:v>
                </c:pt>
                <c:pt idx="3">
                  <c:v>1400</c:v>
                </c:pt>
                <c:pt idx="4">
                  <c:v>1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2AC6-4B70-84B4-08502FDF1AA4}"/>
            </c:ext>
          </c:extLst>
        </c:ser>
        <c:ser>
          <c:idx val="6"/>
          <c:order val="6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2AC6-4B70-84B4-08502FDF1AA4}"/>
              </c:ext>
            </c:extLst>
          </c:dPt>
          <c:dPt>
            <c:idx val="3"/>
            <c:invertIfNegative val="0"/>
            <c:bubble3D val="0"/>
            <c:spPr>
              <a:solidFill>
                <a:srgbClr val="43868B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2AC6-4B70-84B4-08502FDF1AA4}"/>
              </c:ext>
            </c:extLst>
          </c:dPt>
          <c:dPt>
            <c:idx val="4"/>
            <c:invertIfNegative val="0"/>
            <c:bubble3D val="0"/>
            <c:spPr>
              <a:solidFill>
                <a:srgbClr val="045E64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2AC6-4B70-84B4-08502FDF1AA4}"/>
              </c:ext>
            </c:extLst>
          </c:dPt>
          <c:val>
            <c:numRef>
              <c:f>Sheet1!$A$7:$E$7</c:f>
              <c:numCache>
                <c:formatCode>General</c:formatCode>
                <c:ptCount val="5"/>
                <c:pt idx="0">
                  <c:v>1500</c:v>
                </c:pt>
                <c:pt idx="1">
                  <c:v>1400</c:v>
                </c:pt>
                <c:pt idx="2">
                  <c:v>340</c:v>
                </c:pt>
                <c:pt idx="3">
                  <c:v>300</c:v>
                </c:pt>
                <c:pt idx="4">
                  <c:v>2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2AC6-4B70-84B4-08502FDF1AA4}"/>
            </c:ext>
          </c:extLst>
        </c:ser>
        <c:ser>
          <c:idx val="7"/>
          <c:order val="7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2AC6-4B70-84B4-08502FDF1AA4}"/>
              </c:ext>
            </c:extLst>
          </c:dPt>
          <c:dPt>
            <c:idx val="1"/>
            <c:invertIfNegative val="0"/>
            <c:bubble3D val="0"/>
            <c:spPr>
              <a:solidFill>
                <a:srgbClr val="82AEB1"/>
              </a:solidFill>
              <a:ln w="19050" cmpd="sng" algn="ctr">
                <a:solidFill>
                  <a:srgbClr val="0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2AC6-4B70-84B4-08502FDF1AA4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2AC6-4B70-84B4-08502FDF1AA4}"/>
              </c:ext>
            </c:extLst>
          </c:dPt>
          <c:val>
            <c:numRef>
              <c:f>Sheet1!$A$8:$E$8</c:f>
              <c:numCache>
                <c:formatCode>General</c:formatCode>
                <c:ptCount val="5"/>
                <c:pt idx="0">
                  <c:v>370</c:v>
                </c:pt>
                <c:pt idx="1">
                  <c:v>360</c:v>
                </c:pt>
                <c:pt idx="2">
                  <c:v>1700</c:v>
                </c:pt>
                <c:pt idx="3">
                  <c:v>1700</c:v>
                </c:pt>
                <c:pt idx="4">
                  <c:v>1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2AC6-4B70-84B4-08502FDF1AA4}"/>
            </c:ext>
          </c:extLst>
        </c:ser>
        <c:ser>
          <c:idx val="8"/>
          <c:order val="8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2AC6-4B70-84B4-08502FDF1AA4}"/>
              </c:ext>
            </c:extLst>
          </c:dPt>
          <c:dPt>
            <c:idx val="2"/>
            <c:invertIfNegative val="0"/>
            <c:bubble3D val="0"/>
            <c:spPr>
              <a:solidFill>
                <a:srgbClr val="BAB9B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2AC6-4B70-84B4-08502FDF1AA4}"/>
              </c:ext>
            </c:extLst>
          </c:dPt>
          <c:val>
            <c:numRef>
              <c:f>Sheet1!$A$9:$E$9</c:f>
              <c:numCache>
                <c:formatCode>General</c:formatCode>
                <c:ptCount val="5"/>
                <c:pt idx="1">
                  <c:v>1800</c:v>
                </c:pt>
                <c:pt idx="2">
                  <c:v>1400</c:v>
                </c:pt>
                <c:pt idx="3">
                  <c:v>1600</c:v>
                </c:pt>
                <c:pt idx="4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2AC6-4B70-84B4-08502FDF1AA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36885728"/>
        <c:axId val="1"/>
      </c:barChart>
      <c:catAx>
        <c:axId val="43688572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43688572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20044261776794E-3"/>
          <c:y val="7.3330423395896988E-2"/>
          <c:w val="0.98355991147644639"/>
          <c:h val="0.8533391532082059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9D9D9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2C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rgbClr val="FFC2C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8CA-416B-86F3-59A406F26C7E}"/>
              </c:ext>
            </c:extLst>
          </c:dPt>
          <c:dPt>
            <c:idx val="5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8CA-416B-86F3-59A406F26C7E}"/>
              </c:ext>
            </c:extLst>
          </c:dPt>
          <c:dLbls>
            <c:dLbl>
              <c:idx val="0"/>
              <c:layout>
                <c:manualLayout>
                  <c:x val="6.2756876383180518E-2"/>
                  <c:y val="-1.789611523352248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8CA-416B-86F3-59A406F26C7E}"/>
                </c:ext>
              </c:extLst>
            </c:dLbl>
            <c:dLbl>
              <c:idx val="1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8CA-416B-86F3-59A406F26C7E}"/>
                </c:ext>
              </c:extLst>
            </c:dLbl>
            <c:dLbl>
              <c:idx val="2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8CA-416B-86F3-59A406F26C7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8CA-416B-86F3-59A406F26C7E}"/>
                </c:ext>
              </c:extLst>
            </c:dLbl>
            <c:dLbl>
              <c:idx val="4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8CA-416B-86F3-59A406F26C7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3.3333333333333339</c:v>
                </c:pt>
                <c:pt idx="1">
                  <c:v>100</c:v>
                </c:pt>
                <c:pt idx="2">
                  <c:v>60</c:v>
                </c:pt>
                <c:pt idx="3">
                  <c:v>66.666666666666671</c:v>
                </c:pt>
                <c:pt idx="4">
                  <c:v>20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8CA-416B-86F3-59A406F26C7E}"/>
            </c:ext>
          </c:extLst>
        </c:ser>
        <c:ser>
          <c:idx val="1"/>
          <c:order val="1"/>
          <c:spPr>
            <a:solidFill>
              <a:srgbClr val="DCE2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A8CA-416B-86F3-59A406F26C7E}"/>
              </c:ext>
            </c:extLst>
          </c:dPt>
          <c:dPt>
            <c:idx val="5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A8CA-416B-86F3-59A406F26C7E}"/>
              </c:ext>
            </c:extLst>
          </c:dPt>
          <c:dLbls>
            <c:dLbl>
              <c:idx val="0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8CA-416B-86F3-59A406F26C7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8CA-416B-86F3-59A406F26C7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8CA-416B-86F3-59A406F26C7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70</c:v>
                </c:pt>
                <c:pt idx="1">
                  <c:v>0</c:v>
                </c:pt>
                <c:pt idx="2">
                  <c:v>40</c:v>
                </c:pt>
                <c:pt idx="3">
                  <c:v>16.666666666666675</c:v>
                </c:pt>
                <c:pt idx="4">
                  <c:v>40.000000000000007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A8CA-416B-86F3-59A406F26C7E}"/>
            </c:ext>
          </c:extLst>
        </c:ser>
        <c:ser>
          <c:idx val="2"/>
          <c:order val="2"/>
          <c:spPr>
            <a:solidFill>
              <a:srgbClr val="83AC9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8CA-416B-86F3-59A406F26C7E}"/>
              </c:ext>
            </c:extLst>
          </c:dPt>
          <c:dPt>
            <c:idx val="2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A8CA-416B-86F3-59A406F26C7E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A8CA-416B-86F3-59A406F26C7E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8CA-416B-86F3-59A406F26C7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13.33333333333333</c:v>
                </c:pt>
                <c:pt idx="1">
                  <c:v>0</c:v>
                </c:pt>
                <c:pt idx="2">
                  <c:v>0</c:v>
                </c:pt>
                <c:pt idx="3">
                  <c:v>16.666666666666675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A8CA-416B-86F3-59A406F26C7E}"/>
            </c:ext>
          </c:extLst>
        </c:ser>
        <c:ser>
          <c:idx val="3"/>
          <c:order val="3"/>
          <c:spPr>
            <a:solidFill>
              <a:schemeClr val="accent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A8CA-416B-86F3-59A406F26C7E}"/>
              </c:ext>
            </c:extLst>
          </c:dPt>
          <c:dPt>
            <c:idx val="5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A8CA-416B-86F3-59A406F26C7E}"/>
              </c:ext>
            </c:extLst>
          </c:dPt>
          <c:dLbls>
            <c:dLbl>
              <c:idx val="0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8CA-416B-86F3-59A406F26C7E}"/>
                </c:ext>
              </c:extLst>
            </c:dLbl>
            <c:dLbl>
              <c:idx val="4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8CA-416B-86F3-59A406F26C7E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6.666666666666665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9.999999999999996</c:v>
                </c:pt>
                <c:pt idx="5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8CA-416B-86F3-59A406F26C7E}"/>
            </c:ext>
          </c:extLst>
        </c:ser>
        <c:ser>
          <c:idx val="4"/>
          <c:order val="4"/>
          <c:spPr>
            <a:solidFill>
              <a:srgbClr val="104C3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A8CA-416B-86F3-59A406F26C7E}"/>
              </c:ext>
            </c:extLst>
          </c:dPt>
          <c:dPt>
            <c:idx val="5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A8CA-416B-86F3-59A406F26C7E}"/>
              </c:ext>
            </c:extLst>
          </c:dPt>
          <c:dLbls>
            <c:dLbl>
              <c:idx val="0"/>
              <c:layout>
                <c:manualLayout>
                  <c:x val="6.2756876383180518E-2"/>
                  <c:y val="3.230030554343081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8CA-416B-86F3-59A406F26C7E}"/>
                </c:ext>
              </c:extLst>
            </c:dLbl>
            <c:dLbl>
              <c:idx val="4"/>
              <c:layout>
                <c:manualLayout>
                  <c:x val="0"/>
                  <c:y val="-4.3649061545176777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3.333333333333332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9.999999999999996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A8CA-416B-86F3-59A406F26C7E}"/>
            </c:ext>
          </c:extLst>
        </c:ser>
        <c:ser>
          <c:idx val="5"/>
          <c:order val="5"/>
          <c:spPr>
            <a:solidFill>
              <a:srgbClr val="FFC2C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A8CA-416B-86F3-59A406F26C7E}"/>
              </c:ext>
            </c:extLst>
          </c:dPt>
          <c:dPt>
            <c:idx val="4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A8CA-416B-86F3-59A406F26C7E}"/>
              </c:ext>
            </c:extLst>
          </c:dPt>
          <c:dLbls>
            <c:dLbl>
              <c:idx val="0"/>
              <c:layout>
                <c:manualLayout>
                  <c:x val="6.2756876383180518E-2"/>
                  <c:y val="1.047577477084242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8CA-416B-86F3-59A406F26C7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F$6</c:f>
              <c:numCache>
                <c:formatCode>General</c:formatCode>
                <c:ptCount val="6"/>
                <c:pt idx="0">
                  <c:v>3.3333333333333326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A8CA-416B-86F3-59A406F26C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35384176"/>
        <c:axId val="1"/>
      </c:barChart>
      <c:catAx>
        <c:axId val="113538417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3538417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58877946881528E-3"/>
          <c:y val="7.4866310160427801E-2"/>
          <c:w val="0.98448224410623697"/>
          <c:h val="0.8502673796791443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B370-46E4-8194-9867F2DF1E5E}"/>
              </c:ext>
            </c:extLst>
          </c:dPt>
          <c:dLbls>
            <c:dLbl>
              <c:idx val="0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B370-46E4-8194-9867F2DF1E5E}"/>
                </c:ext>
              </c:extLst>
            </c:dLbl>
            <c:dLbl>
              <c:idx val="1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B370-46E4-8194-9867F2DF1E5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B370-46E4-8194-9867F2DF1E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.571428571428573</c:v>
                </c:pt>
                <c:pt idx="1">
                  <c:v>15.544041450777202</c:v>
                </c:pt>
                <c:pt idx="2">
                  <c:v>9.94475138121547</c:v>
                </c:pt>
                <c:pt idx="3">
                  <c:v>4.2553191489361701</c:v>
                </c:pt>
                <c:pt idx="4">
                  <c:v>4.25531914893617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370-46E4-8194-9867F2DF1E5E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8.857142857142861</c:v>
                </c:pt>
                <c:pt idx="1">
                  <c:v>20.207253886010363</c:v>
                </c:pt>
                <c:pt idx="2">
                  <c:v>14.917127071823206</c:v>
                </c:pt>
                <c:pt idx="3">
                  <c:v>7.4468085106382977</c:v>
                </c:pt>
                <c:pt idx="4">
                  <c:v>7.4468085106382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370-46E4-8194-9867F2DF1E5E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B370-46E4-8194-9867F2DF1E5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B370-46E4-8194-9867F2DF1E5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B370-46E4-8194-9867F2DF1E5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B370-46E4-8194-9867F2DF1E5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B370-46E4-8194-9867F2DF1E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8.857142857142861</c:v>
                </c:pt>
                <c:pt idx="1">
                  <c:v>20.207253886010363</c:v>
                </c:pt>
                <c:pt idx="2">
                  <c:v>14.917127071823202</c:v>
                </c:pt>
                <c:pt idx="3">
                  <c:v>7.4468085106382977</c:v>
                </c:pt>
                <c:pt idx="4">
                  <c:v>7.44680851063829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B370-46E4-8194-9867F2DF1E5E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3.714285714285722</c:v>
                </c:pt>
                <c:pt idx="1">
                  <c:v>9.0673575129533663</c:v>
                </c:pt>
                <c:pt idx="2">
                  <c:v>15.193370165745856</c:v>
                </c:pt>
                <c:pt idx="3">
                  <c:v>19.148936170212767</c:v>
                </c:pt>
                <c:pt idx="4">
                  <c:v>14.361702127659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B370-46E4-8194-9867F2DF1E5E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B370-46E4-8194-9867F2DF1E5E}"/>
                </c:ext>
              </c:extLst>
            </c:dLbl>
            <c:dLbl>
              <c:idx val="1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B370-46E4-8194-9867F2DF1E5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B370-46E4-8194-9867F2DF1E5E}"/>
                </c:ext>
              </c:extLst>
            </c:dLbl>
            <c:dLbl>
              <c:idx val="3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B370-46E4-8194-9867F2DF1E5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B370-46E4-8194-9867F2DF1E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13.714285714285722</c:v>
                </c:pt>
                <c:pt idx="1">
                  <c:v>9.0673575129533663</c:v>
                </c:pt>
                <c:pt idx="2">
                  <c:v>15.193370165745856</c:v>
                </c:pt>
                <c:pt idx="3">
                  <c:v>19.148936170212771</c:v>
                </c:pt>
                <c:pt idx="4">
                  <c:v>14.3617021276595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B370-46E4-8194-9867F2DF1E5E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B370-46E4-8194-9867F2DF1E5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B370-46E4-8194-9867F2DF1E5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B370-46E4-8194-9867F2DF1E5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B370-46E4-8194-9867F2DF1E5E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B370-46E4-8194-9867F2DF1E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8.0000000000000071</c:v>
                </c:pt>
                <c:pt idx="1">
                  <c:v>15.544041450777202</c:v>
                </c:pt>
                <c:pt idx="2">
                  <c:v>16.022099447513817</c:v>
                </c:pt>
                <c:pt idx="3">
                  <c:v>26.063829787234049</c:v>
                </c:pt>
                <c:pt idx="4">
                  <c:v>26.595744680851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B370-46E4-8194-9867F2DF1E5E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B370-46E4-8194-9867F2DF1E5E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B370-46E4-8194-9867F2DF1E5E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B370-46E4-8194-9867F2DF1E5E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B370-46E4-8194-9867F2DF1E5E}"/>
                </c:ext>
              </c:extLst>
            </c:dLbl>
            <c:dLbl>
              <c:idx val="4"/>
              <c:layout>
                <c:manualLayout>
                  <c:x val="0"/>
                  <c:y val="-4.4563279857397502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B370-46E4-8194-9867F2DF1E5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6.2857142857142945</c:v>
                </c:pt>
                <c:pt idx="1">
                  <c:v>10.362694300518138</c:v>
                </c:pt>
                <c:pt idx="2">
                  <c:v>13.812154696132595</c:v>
                </c:pt>
                <c:pt idx="3">
                  <c:v>16.489361702127646</c:v>
                </c:pt>
                <c:pt idx="4">
                  <c:v>25.531914893617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B370-46E4-8194-9867F2DF1E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13508032"/>
        <c:axId val="1"/>
      </c:barChart>
      <c:catAx>
        <c:axId val="111350803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1350803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635416666666661E-3"/>
          <c:y val="7.1764203331909443E-2"/>
          <c:w val="0.98307291666666663"/>
          <c:h val="0.856471593336181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D9D9D9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FFC2C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rgbClr val="FFC2C2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F2A-4041-B9AD-43048F459CF9}"/>
              </c:ext>
            </c:extLst>
          </c:dPt>
          <c:dPt>
            <c:idx val="5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3F2A-4041-B9AD-43048F459CF9}"/>
              </c:ext>
            </c:extLst>
          </c:dPt>
          <c:dLbls>
            <c:dLbl>
              <c:idx val="0"/>
              <c:layout>
                <c:manualLayout>
                  <c:x val="5.4036458333333336E-2"/>
                  <c:y val="-1.70867150790260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3F2A-4041-B9AD-43048F459CF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3F2A-4041-B9AD-43048F459CF9}"/>
                </c:ext>
              </c:extLst>
            </c:dLbl>
            <c:dLbl>
              <c:idx val="2"/>
              <c:layout>
                <c:manualLayout>
                  <c:x val="0"/>
                  <c:y val="-4.2716787697565144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3F2A-4041-B9AD-43048F459CF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3F2A-4041-B9AD-43048F459CF9}"/>
                </c:ext>
              </c:extLst>
            </c:dLbl>
            <c:dLbl>
              <c:idx val="4"/>
              <c:layout>
                <c:manualLayout>
                  <c:x val="5.4036458333333336E-2"/>
                  <c:y val="-1.70867150790260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3F2A-4041-B9AD-43048F459CF9}"/>
                </c:ext>
              </c:extLst>
            </c:dLbl>
            <c:dLbl>
              <c:idx val="5"/>
              <c:layout>
                <c:manualLayout>
                  <c:x val="5.4036458333333336E-2"/>
                  <c:y val="-1.70867150790260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F$1</c:f>
              <c:numCache>
                <c:formatCode>General</c:formatCode>
                <c:ptCount val="6"/>
                <c:pt idx="0">
                  <c:v>1</c:v>
                </c:pt>
                <c:pt idx="1">
                  <c:v>12</c:v>
                </c:pt>
                <c:pt idx="2">
                  <c:v>3</c:v>
                </c:pt>
                <c:pt idx="3">
                  <c:v>4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2A-4041-B9AD-43048F459CF9}"/>
            </c:ext>
          </c:extLst>
        </c:ser>
        <c:ser>
          <c:idx val="1"/>
          <c:order val="1"/>
          <c:spPr>
            <a:solidFill>
              <a:srgbClr val="DCE2D6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7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3F2A-4041-B9AD-43048F459CF9}"/>
              </c:ext>
            </c:extLst>
          </c:dPt>
          <c:dPt>
            <c:idx val="5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3F2A-4041-B9AD-43048F459C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3F2A-4041-B9AD-43048F459CF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3F2A-4041-B9AD-43048F459CF9}"/>
                </c:ext>
              </c:extLst>
            </c:dLbl>
            <c:dLbl>
              <c:idx val="3"/>
              <c:layout>
                <c:manualLayout>
                  <c:x val="5.4036458333333336E-2"/>
                  <c:y val="1.0252029047415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3F2A-4041-B9AD-43048F459CF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F$2</c:f>
              <c:numCache>
                <c:formatCode>General</c:formatCode>
                <c:ptCount val="6"/>
                <c:pt idx="0">
                  <c:v>21</c:v>
                </c:pt>
                <c:pt idx="1">
                  <c:v>0</c:v>
                </c:pt>
                <c:pt idx="2">
                  <c:v>2</c:v>
                </c:pt>
                <c:pt idx="3">
                  <c:v>1</c:v>
                </c:pt>
                <c:pt idx="4">
                  <c:v>2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F2A-4041-B9AD-43048F459CF9}"/>
            </c:ext>
          </c:extLst>
        </c:ser>
        <c:ser>
          <c:idx val="2"/>
          <c:order val="2"/>
          <c:spPr>
            <a:solidFill>
              <a:srgbClr val="83AC9A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3F2A-4041-B9AD-43048F459CF9}"/>
              </c:ext>
            </c:extLst>
          </c:dPt>
          <c:dPt>
            <c:idx val="2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rgbClr val="DCE2D6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3F2A-4041-B9AD-43048F459CF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3F2A-4041-B9AD-43048F459C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3F2A-4041-B9AD-43048F459CF9}"/>
                </c:ext>
              </c:extLst>
            </c:dLbl>
            <c:dLbl>
              <c:idx val="3"/>
              <c:layout>
                <c:manualLayout>
                  <c:x val="5.4036458333333336E-2"/>
                  <c:y val="-1.0252029047415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F$3</c:f>
              <c:numCache>
                <c:formatCode>General</c:formatCode>
                <c:ptCount val="6"/>
                <c:pt idx="0">
                  <c:v>4</c:v>
                </c:pt>
                <c:pt idx="1">
                  <c:v>0</c:v>
                </c:pt>
                <c:pt idx="2">
                  <c:v>0</c:v>
                </c:pt>
                <c:pt idx="3">
                  <c:v>1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3F2A-4041-B9AD-43048F459CF9}"/>
            </c:ext>
          </c:extLst>
        </c:ser>
        <c:ser>
          <c:idx val="3"/>
          <c:order val="3"/>
          <c:spPr>
            <a:solidFill>
              <a:schemeClr val="accent5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3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rgbClr val="83AC9A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3F2A-4041-B9AD-43048F459CF9}"/>
              </c:ext>
            </c:extLst>
          </c:dPt>
          <c:dPt>
            <c:idx val="5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3F2A-4041-B9AD-43048F459CF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3F2A-4041-B9AD-43048F459CF9}"/>
                </c:ext>
              </c:extLst>
            </c:dLbl>
            <c:dLbl>
              <c:idx val="4"/>
              <c:layout>
                <c:manualLayout>
                  <c:x val="5.4036458333333336E-2"/>
                  <c:y val="1.0252029047415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3F2A-4041-B9AD-43048F459CF9}"/>
                </c:ext>
              </c:extLst>
            </c:dLbl>
            <c:dLbl>
              <c:idx val="5"/>
              <c:layout>
                <c:manualLayout>
                  <c:x val="5.4036458333333336E-2"/>
                  <c:y val="-3.801794105083297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F$4</c:f>
              <c:numCache>
                <c:formatCode>General</c:formatCode>
                <c:ptCount val="6"/>
                <c:pt idx="0">
                  <c:v>2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3F2A-4041-B9AD-43048F459CF9}"/>
            </c:ext>
          </c:extLst>
        </c:ser>
        <c:ser>
          <c:idx val="4"/>
          <c:order val="4"/>
          <c:spPr>
            <a:solidFill>
              <a:srgbClr val="104C3E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5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3F2A-4041-B9AD-43048F459CF9}"/>
              </c:ext>
            </c:extLst>
          </c:dPt>
          <c:dPt>
            <c:idx val="5"/>
            <c:invertIfNegative val="0"/>
            <c:bubble3D val="0"/>
            <c:spPr>
              <a:solidFill>
                <a:srgbClr val="D9D9D9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9-3F2A-4041-B9AD-43048F459CF9}"/>
              </c:ext>
            </c:extLst>
          </c:dPt>
          <c:dLbls>
            <c:dLbl>
              <c:idx val="0"/>
              <c:layout>
                <c:manualLayout>
                  <c:x val="5.4036458333333336E-2"/>
                  <c:y val="3.075608714224690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3F2A-4041-B9AD-43048F459CF9}"/>
                </c:ext>
              </c:extLst>
            </c:dLbl>
            <c:dLbl>
              <c:idx val="4"/>
              <c:layout>
                <c:manualLayout>
                  <c:x val="5.4036458333333336E-2"/>
                  <c:y val="-1.0252029047415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F$5</c:f>
              <c:numCache>
                <c:formatCode>General</c:formatCode>
                <c:ptCount val="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3F2A-4041-B9AD-43048F459CF9}"/>
            </c:ext>
          </c:extLst>
        </c:ser>
        <c:ser>
          <c:idx val="5"/>
          <c:order val="5"/>
          <c:spPr>
            <a:solidFill>
              <a:srgbClr val="FFC2C2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B-3F2A-4041-B9AD-43048F459CF9}"/>
              </c:ext>
            </c:extLst>
          </c:dPt>
          <c:dPt>
            <c:idx val="4"/>
            <c:invertIfNegative val="0"/>
            <c:bubble3D val="0"/>
            <c:spPr>
              <a:solidFill>
                <a:srgbClr val="104C3E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3F2A-4041-B9AD-43048F459CF9}"/>
              </c:ext>
            </c:extLst>
          </c:dPt>
          <c:dLbls>
            <c:dLbl>
              <c:idx val="0"/>
              <c:layout>
                <c:manualLayout>
                  <c:x val="5.4036458333333336E-2"/>
                  <c:y val="1.025202904741563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3F2A-4041-B9AD-43048F459CF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F$6</c:f>
              <c:numCache>
                <c:formatCode>General</c:formatCode>
                <c:ptCount val="6"/>
                <c:pt idx="0">
                  <c:v>1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D-3F2A-4041-B9AD-43048F459CF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50922943"/>
        <c:axId val="1"/>
      </c:barChart>
      <c:catAx>
        <c:axId val="5509229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55092294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3426921225733999E-3"/>
          <c:y val="2.1285304952926729E-2"/>
          <c:w val="0.98331461575485324"/>
          <c:h val="0.95456406058125254"/>
        </c:manualLayout>
      </c:layout>
      <c:bubbleChart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6C5-40C0-93B2-AC4887DC572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6C5-40C0-93B2-AC4887DC572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6C5-40C0-93B2-AC4887DC572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6C5-40C0-93B2-AC4887DC5729}"/>
              </c:ext>
            </c:extLst>
          </c:dPt>
          <c:dPt>
            <c:idx val="4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CC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A6C5-40C0-93B2-AC4887DC5729}"/>
              </c:ext>
            </c:extLst>
          </c:dPt>
          <c:dPt>
            <c:idx val="5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CC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6C5-40C0-93B2-AC4887DC5729}"/>
              </c:ext>
            </c:extLst>
          </c:dPt>
          <c:xVal>
            <c:numRef>
              <c:f>Sheet1!$A$1:$A$18</c:f>
              <c:numCache>
                <c:formatCode>General</c:formatCode>
                <c:ptCount val="18"/>
                <c:pt idx="0">
                  <c:v>8</c:v>
                </c:pt>
                <c:pt idx="1">
                  <c:v>9</c:v>
                </c:pt>
                <c:pt idx="2">
                  <c:v>11</c:v>
                </c:pt>
                <c:pt idx="3">
                  <c:v>7</c:v>
                </c:pt>
                <c:pt idx="4">
                  <c:v>3</c:v>
                </c:pt>
                <c:pt idx="5">
                  <c:v>1.5</c:v>
                </c:pt>
              </c:numCache>
            </c:numRef>
          </c:xVal>
          <c:yVal>
            <c:numRef>
              <c:f>Sheet1!$B$1:$B$18</c:f>
              <c:numCache>
                <c:formatCode>General</c:formatCode>
                <c:ptCount val="18"/>
                <c:pt idx="0">
                  <c:v>5000</c:v>
                </c:pt>
                <c:pt idx="1">
                  <c:v>18171.22</c:v>
                </c:pt>
                <c:pt idx="2">
                  <c:v>5455.7139999999999</c:v>
                </c:pt>
                <c:pt idx="3">
                  <c:v>17516.419999999998</c:v>
                </c:pt>
                <c:pt idx="4">
                  <c:v>40000</c:v>
                </c:pt>
                <c:pt idx="5">
                  <c:v>50000</c:v>
                </c:pt>
              </c:numCache>
            </c:numRef>
          </c:yVal>
          <c:bubbleSize>
            <c:numRef>
              <c:f>Sheet1!$C$1:$C$18</c:f>
              <c:numCache>
                <c:formatCode>General</c:formatCode>
                <c:ptCount val="18"/>
                <c:pt idx="0">
                  <c:v>85</c:v>
                </c:pt>
                <c:pt idx="1">
                  <c:v>48</c:v>
                </c:pt>
                <c:pt idx="2">
                  <c:v>60</c:v>
                </c:pt>
                <c:pt idx="3">
                  <c:v>160</c:v>
                </c:pt>
                <c:pt idx="4">
                  <c:v>225</c:v>
                </c:pt>
                <c:pt idx="5">
                  <c:v>159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6-A6C5-40C0-93B2-AC4887DC5729}"/>
            </c:ext>
          </c:extLst>
        </c:ser>
        <c:ser>
          <c:idx val="1"/>
          <c:order val="1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xVal>
            <c:numRef>
              <c:f>Sheet1!$A$1:$A$18</c:f>
              <c:numCache>
                <c:formatCode>General</c:formatCode>
                <c:ptCount val="18"/>
                <c:pt idx="6">
                  <c:v>9</c:v>
                </c:pt>
                <c:pt idx="7">
                  <c:v>8</c:v>
                </c:pt>
              </c:numCache>
            </c:numRef>
          </c:xVal>
          <c:yVal>
            <c:numRef>
              <c:f>Sheet1!$D$1:$D$18</c:f>
              <c:numCache>
                <c:formatCode>General</c:formatCode>
                <c:ptCount val="18"/>
                <c:pt idx="6">
                  <c:v>2500</c:v>
                </c:pt>
                <c:pt idx="7">
                  <c:v>18364.599999999999</c:v>
                </c:pt>
              </c:numCache>
            </c:numRef>
          </c:yVal>
          <c:bubbleSize>
            <c:numRef>
              <c:f>Sheet1!$E$1:$E$18</c:f>
              <c:numCache>
                <c:formatCode>General</c:formatCode>
                <c:ptCount val="18"/>
                <c:pt idx="6">
                  <c:v>70</c:v>
                </c:pt>
                <c:pt idx="7">
                  <c:v>12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7-A6C5-40C0-93B2-AC4887DC5729}"/>
            </c:ext>
          </c:extLst>
        </c:ser>
        <c:ser>
          <c:idx val="2"/>
          <c:order val="2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A6C5-40C0-93B2-AC4887DC5729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A6C5-40C0-93B2-AC4887DC5729}"/>
              </c:ext>
            </c:extLst>
          </c:dPt>
          <c:dPt>
            <c:idx val="10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A-A6C5-40C0-93B2-AC4887DC5729}"/>
              </c:ext>
            </c:extLst>
          </c:dPt>
          <c:xVal>
            <c:numRef>
              <c:f>Sheet1!$A$1:$A$18</c:f>
              <c:numCache>
                <c:formatCode>General</c:formatCode>
                <c:ptCount val="18"/>
                <c:pt idx="8">
                  <c:v>6</c:v>
                </c:pt>
                <c:pt idx="9">
                  <c:v>6</c:v>
                </c:pt>
                <c:pt idx="10">
                  <c:v>4</c:v>
                </c:pt>
              </c:numCache>
            </c:numRef>
          </c:xVal>
          <c:yVal>
            <c:numRef>
              <c:f>Sheet1!$F$1:$F$18</c:f>
              <c:numCache>
                <c:formatCode>General</c:formatCode>
                <c:ptCount val="18"/>
                <c:pt idx="8">
                  <c:v>2965.7689999999998</c:v>
                </c:pt>
                <c:pt idx="9">
                  <c:v>13407.56</c:v>
                </c:pt>
                <c:pt idx="10">
                  <c:v>10000</c:v>
                </c:pt>
              </c:numCache>
            </c:numRef>
          </c:yVal>
          <c:bubbleSize>
            <c:numRef>
              <c:f>Sheet1!$G$1:$G$18</c:f>
              <c:numCache>
                <c:formatCode>General</c:formatCode>
                <c:ptCount val="18"/>
                <c:pt idx="8">
                  <c:v>90</c:v>
                </c:pt>
                <c:pt idx="9">
                  <c:v>179</c:v>
                </c:pt>
                <c:pt idx="10">
                  <c:v>40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B-A6C5-40C0-93B2-AC4887DC5729}"/>
            </c:ext>
          </c:extLst>
        </c:ser>
        <c:ser>
          <c:idx val="3"/>
          <c:order val="3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11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A6C5-40C0-93B2-AC4887DC5729}"/>
              </c:ext>
            </c:extLst>
          </c:dPt>
          <c:dPt>
            <c:idx val="12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6C5-40C0-93B2-AC4887DC5729}"/>
              </c:ext>
            </c:extLst>
          </c:dPt>
          <c:dPt>
            <c:idx val="13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E-A6C5-40C0-93B2-AC4887DC5729}"/>
              </c:ext>
            </c:extLst>
          </c:dPt>
          <c:xVal>
            <c:numRef>
              <c:f>Sheet1!$A$1:$A$18</c:f>
              <c:numCache>
                <c:formatCode>General</c:formatCode>
                <c:ptCount val="18"/>
                <c:pt idx="11">
                  <c:v>8</c:v>
                </c:pt>
                <c:pt idx="12">
                  <c:v>5</c:v>
                </c:pt>
                <c:pt idx="13">
                  <c:v>4</c:v>
                </c:pt>
                <c:pt idx="14">
                  <c:v>2</c:v>
                </c:pt>
                <c:pt idx="15">
                  <c:v>1</c:v>
                </c:pt>
              </c:numCache>
            </c:numRef>
          </c:xVal>
          <c:yVal>
            <c:numRef>
              <c:f>Sheet1!$H$1:$H$18</c:f>
              <c:numCache>
                <c:formatCode>General</c:formatCode>
                <c:ptCount val="18"/>
                <c:pt idx="11">
                  <c:v>40000</c:v>
                </c:pt>
                <c:pt idx="12">
                  <c:v>12479.07</c:v>
                </c:pt>
                <c:pt idx="13">
                  <c:v>3889.154</c:v>
                </c:pt>
                <c:pt idx="14">
                  <c:v>17000</c:v>
                </c:pt>
                <c:pt idx="15">
                  <c:v>10000</c:v>
                </c:pt>
              </c:numCache>
            </c:numRef>
          </c:yVal>
          <c:bubbleSize>
            <c:numRef>
              <c:f>Sheet1!$I$1:$I$18</c:f>
              <c:numCache>
                <c:formatCode>General</c:formatCode>
                <c:ptCount val="18"/>
                <c:pt idx="11">
                  <c:v>190</c:v>
                </c:pt>
                <c:pt idx="12">
                  <c:v>60</c:v>
                </c:pt>
                <c:pt idx="13">
                  <c:v>150</c:v>
                </c:pt>
                <c:pt idx="14">
                  <c:v>443</c:v>
                </c:pt>
                <c:pt idx="15">
                  <c:v>28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F-A6C5-40C0-93B2-AC4887DC5729}"/>
            </c:ext>
          </c:extLst>
        </c:ser>
        <c:ser>
          <c:idx val="4"/>
          <c:order val="4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CC0000"/>
              </a:solidFill>
              <a:prstDash val="solid"/>
            </a:ln>
          </c:spPr>
          <c:invertIfNegative val="0"/>
          <c:xVal>
            <c:numRef>
              <c:f>Sheet1!$A$1:$A$18</c:f>
              <c:numCache>
                <c:formatCode>General</c:formatCode>
                <c:ptCount val="18"/>
                <c:pt idx="16">
                  <c:v>3</c:v>
                </c:pt>
              </c:numCache>
            </c:numRef>
          </c:xVal>
          <c:yVal>
            <c:numRef>
              <c:f>Sheet1!$J$1:$J$18</c:f>
              <c:numCache>
                <c:formatCode>General</c:formatCode>
                <c:ptCount val="18"/>
                <c:pt idx="16">
                  <c:v>25000</c:v>
                </c:pt>
              </c:numCache>
            </c:numRef>
          </c:yVal>
          <c:bubbleSize>
            <c:numRef>
              <c:f>Sheet1!$K$1:$K$18</c:f>
              <c:numCache>
                <c:formatCode>General</c:formatCode>
                <c:ptCount val="18"/>
                <c:pt idx="16">
                  <c:v>230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0-A6C5-40C0-93B2-AC4887DC5729}"/>
            </c:ext>
          </c:extLst>
        </c:ser>
        <c:ser>
          <c:idx val="5"/>
          <c:order val="5"/>
          <c:spPr>
            <a:solidFill>
              <a:srgbClr val="045E64"/>
            </a:solidFill>
            <a:ln w="9525" cmpd="sng" algn="ctr">
              <a:solidFill>
                <a:srgbClr val="CC0000"/>
              </a:solidFill>
              <a:prstDash val="solid"/>
            </a:ln>
          </c:spPr>
          <c:invertIfNegative val="0"/>
          <c:xVal>
            <c:numRef>
              <c:f>Sheet1!$A$1:$A$18</c:f>
              <c:numCache>
                <c:formatCode>General</c:formatCode>
                <c:ptCount val="18"/>
                <c:pt idx="17">
                  <c:v>4</c:v>
                </c:pt>
              </c:numCache>
            </c:numRef>
          </c:xVal>
          <c:yVal>
            <c:numRef>
              <c:f>Sheet1!$L$1:$L$18</c:f>
              <c:numCache>
                <c:formatCode>General</c:formatCode>
                <c:ptCount val="18"/>
                <c:pt idx="17">
                  <c:v>35000</c:v>
                </c:pt>
              </c:numCache>
            </c:numRef>
          </c:yVal>
          <c:bubbleSize>
            <c:numRef>
              <c:f>Sheet1!$M$1:$M$18</c:f>
              <c:numCache>
                <c:formatCode>General</c:formatCode>
                <c:ptCount val="18"/>
                <c:pt idx="17">
                  <c:v>175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11-A6C5-40C0-93B2-AC4887DC57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164"/>
        <c:showNegBubbles val="0"/>
        <c:axId val="1183879984"/>
        <c:axId val="1"/>
      </c:bubbleChart>
      <c:valAx>
        <c:axId val="1183879984"/>
        <c:scaling>
          <c:orientation val="maxMin"/>
          <c:max val="12"/>
          <c:min val="0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2"/>
      </c:valAx>
      <c:valAx>
        <c:axId val="1"/>
        <c:scaling>
          <c:orientation val="minMax"/>
          <c:max val="5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txPr>
          <a:bodyPr wrap="none"/>
          <a:lstStyle/>
          <a:p>
            <a:pPr>
              <a:defRPr sz="1200" kern="1200"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3879984"/>
        <c:crosses val="max"/>
        <c:crossBetween val="midCat"/>
        <c:majorUnit val="100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219987812309562E-3"/>
          <c:y val="2.7069234773555439E-2"/>
          <c:w val="0.98415600243753809"/>
          <c:h val="0.9458615304528891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2D1-4786-8745-BA479730B6F2}"/>
              </c:ext>
            </c:extLst>
          </c:dPt>
          <c:val>
            <c:numRef>
              <c:f>Sheet1!$A$1:$E$1</c:f>
              <c:numCache>
                <c:formatCode>General</c:formatCode>
                <c:ptCount val="5"/>
                <c:pt idx="0">
                  <c:v>1800</c:v>
                </c:pt>
                <c:pt idx="1">
                  <c:v>1500</c:v>
                </c:pt>
                <c:pt idx="2">
                  <c:v>900</c:v>
                </c:pt>
                <c:pt idx="3">
                  <c:v>400</c:v>
                </c:pt>
                <c:pt idx="4">
                  <c:v>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D1-4786-8745-BA479730B6F2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2:$E$2</c:f>
              <c:numCache>
                <c:formatCode>General</c:formatCode>
                <c:ptCount val="5"/>
                <c:pt idx="0">
                  <c:v>1650</c:v>
                </c:pt>
                <c:pt idx="1">
                  <c:v>1950</c:v>
                </c:pt>
                <c:pt idx="2">
                  <c:v>1350</c:v>
                </c:pt>
                <c:pt idx="3">
                  <c:v>700</c:v>
                </c:pt>
                <c:pt idx="4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D1-4786-8745-BA479730B6F2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3:$E$3</c:f>
              <c:numCache>
                <c:formatCode>General</c:formatCode>
                <c:ptCount val="5"/>
                <c:pt idx="0">
                  <c:v>1650</c:v>
                </c:pt>
                <c:pt idx="1">
                  <c:v>1950</c:v>
                </c:pt>
                <c:pt idx="2">
                  <c:v>1350</c:v>
                </c:pt>
                <c:pt idx="3">
                  <c:v>700</c:v>
                </c:pt>
                <c:pt idx="4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2D1-4786-8745-BA479730B6F2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200</c:v>
                </c:pt>
                <c:pt idx="1">
                  <c:v>875</c:v>
                </c:pt>
                <c:pt idx="2">
                  <c:v>1375</c:v>
                </c:pt>
                <c:pt idx="3">
                  <c:v>1800</c:v>
                </c:pt>
                <c:pt idx="4">
                  <c:v>1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D1-4786-8745-BA479730B6F2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5:$E$5</c:f>
              <c:numCache>
                <c:formatCode>General</c:formatCode>
                <c:ptCount val="5"/>
                <c:pt idx="0">
                  <c:v>1200</c:v>
                </c:pt>
                <c:pt idx="1">
                  <c:v>875</c:v>
                </c:pt>
                <c:pt idx="2">
                  <c:v>1375</c:v>
                </c:pt>
                <c:pt idx="3">
                  <c:v>1800</c:v>
                </c:pt>
                <c:pt idx="4">
                  <c:v>13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2D1-4786-8745-BA479730B6F2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6:$E$6</c:f>
              <c:numCache>
                <c:formatCode>General</c:formatCode>
                <c:ptCount val="5"/>
                <c:pt idx="0">
                  <c:v>700</c:v>
                </c:pt>
                <c:pt idx="1">
                  <c:v>1500</c:v>
                </c:pt>
                <c:pt idx="2">
                  <c:v>1450</c:v>
                </c:pt>
                <c:pt idx="3">
                  <c:v>2450</c:v>
                </c:pt>
                <c:pt idx="4">
                  <c:v>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2D1-4786-8745-BA479730B6F2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7:$E$7</c:f>
              <c:numCache>
                <c:formatCode>General</c:formatCode>
                <c:ptCount val="5"/>
                <c:pt idx="0">
                  <c:v>550</c:v>
                </c:pt>
                <c:pt idx="1">
                  <c:v>1000</c:v>
                </c:pt>
                <c:pt idx="2">
                  <c:v>1250</c:v>
                </c:pt>
                <c:pt idx="3">
                  <c:v>1550</c:v>
                </c:pt>
                <c:pt idx="4">
                  <c:v>24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2D1-4786-8745-BA479730B6F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47054448"/>
        <c:axId val="1"/>
      </c:barChart>
      <c:catAx>
        <c:axId val="114705444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4705444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2135523613963042E-3"/>
          <c:y val="6.7741935483870974E-2"/>
          <c:w val="0.98357289527720737"/>
          <c:h val="0.864516129032258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28B-4F5D-8D65-251F9DF2DC6A}"/>
              </c:ext>
            </c:extLst>
          </c:dPt>
          <c:dLbls>
            <c:dLbl>
              <c:idx val="0"/>
              <c:layout>
                <c:manualLayout>
                  <c:x val="0"/>
                  <c:y val="-4.032258064516129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28B-4F5D-8D65-251F9DF2DC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28B-4F5D-8D65-251F9DF2DC6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28B-4F5D-8D65-251F9DF2DC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28B-4F5D-8D65-251F9DF2DC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20</c:v>
                </c:pt>
                <c:pt idx="1">
                  <c:v>13.636363636363635</c:v>
                </c:pt>
                <c:pt idx="2">
                  <c:v>9.5238095238095237</c:v>
                </c:pt>
                <c:pt idx="3">
                  <c:v>4.5454545454545459</c:v>
                </c:pt>
                <c:pt idx="4">
                  <c:v>4.5454545454545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28B-4F5D-8D65-251F9DF2DC6A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3"/>
              <c:layout>
                <c:manualLayout>
                  <c:x val="7.1868583162217656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28B-4F5D-8D65-251F9DF2DC6A}"/>
                </c:ext>
              </c:extLst>
            </c:dLbl>
            <c:dLbl>
              <c:idx val="4"/>
              <c:layout>
                <c:manualLayout>
                  <c:x val="7.1710630232190806E-2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20</c:v>
                </c:pt>
                <c:pt idx="1">
                  <c:v>18.181818181818183</c:v>
                </c:pt>
                <c:pt idx="2">
                  <c:v>9.5238095238095237</c:v>
                </c:pt>
                <c:pt idx="3">
                  <c:v>4.5454545454545459</c:v>
                </c:pt>
                <c:pt idx="4">
                  <c:v>4.5454545454545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28B-4F5D-8D65-251F9DF2DC6A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032258064516129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A28B-4F5D-8D65-251F9DF2DC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28B-4F5D-8D65-251F9DF2DC6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A28B-4F5D-8D65-251F9DF2DC6A}"/>
                </c:ext>
              </c:extLst>
            </c:dLbl>
            <c:dLbl>
              <c:idx val="3"/>
              <c:layout>
                <c:manualLayout>
                  <c:x val="0"/>
                  <c:y val="-4.032258064516129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28B-4F5D-8D65-251F9DF2DC6A}"/>
                </c:ext>
              </c:extLst>
            </c:dLbl>
            <c:dLbl>
              <c:idx val="4"/>
              <c:layout>
                <c:manualLayout>
                  <c:x val="0"/>
                  <c:y val="-4.032258064516129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15.000000000000002</c:v>
                </c:pt>
                <c:pt idx="1">
                  <c:v>18.181818181818183</c:v>
                </c:pt>
                <c:pt idx="2">
                  <c:v>14.285714285714285</c:v>
                </c:pt>
                <c:pt idx="3">
                  <c:v>9.0909090909090917</c:v>
                </c:pt>
                <c:pt idx="4">
                  <c:v>9.09090909090909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28B-4F5D-8D65-251F9DF2DC6A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15.000000000000002</c:v>
                </c:pt>
                <c:pt idx="1">
                  <c:v>9.0909090909090935</c:v>
                </c:pt>
                <c:pt idx="2">
                  <c:v>14.285714285714285</c:v>
                </c:pt>
                <c:pt idx="3">
                  <c:v>13.636363636363635</c:v>
                </c:pt>
                <c:pt idx="4">
                  <c:v>9.09090909090908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A28B-4F5D-8D65-251F9DF2DC6A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28B-4F5D-8D65-251F9DF2DC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28B-4F5D-8D65-251F9DF2DC6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28B-4F5D-8D65-251F9DF2DC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A28B-4F5D-8D65-251F9DF2DC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15.000000000000002</c:v>
                </c:pt>
                <c:pt idx="1">
                  <c:v>13.636363636363635</c:v>
                </c:pt>
                <c:pt idx="2">
                  <c:v>19.047619047619047</c:v>
                </c:pt>
                <c:pt idx="3">
                  <c:v>18.181818181818183</c:v>
                </c:pt>
                <c:pt idx="4">
                  <c:v>13.6363636363636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A28B-4F5D-8D65-251F9DF2DC6A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A28B-4F5D-8D65-251F9DF2DC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28B-4F5D-8D65-251F9DF2DC6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28B-4F5D-8D65-251F9DF2DC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28B-4F5D-8D65-251F9DF2DC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9.9999999999999982</c:v>
                </c:pt>
                <c:pt idx="1">
                  <c:v>18.181818181818187</c:v>
                </c:pt>
                <c:pt idx="2">
                  <c:v>19.047619047619047</c:v>
                </c:pt>
                <c:pt idx="3">
                  <c:v>31.818181818181813</c:v>
                </c:pt>
                <c:pt idx="4">
                  <c:v>31.8181818181818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A28B-4F5D-8D65-251F9DF2DC6A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-4.032258064516129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A28B-4F5D-8D65-251F9DF2DC6A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A28B-4F5D-8D65-251F9DF2DC6A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A28B-4F5D-8D65-251F9DF2DC6A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A28B-4F5D-8D65-251F9DF2DC6A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A28B-4F5D-8D65-251F9DF2DC6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4.9999999999999929</c:v>
                </c:pt>
                <c:pt idx="1">
                  <c:v>9.0909090909090828</c:v>
                </c:pt>
                <c:pt idx="2">
                  <c:v>14.28571428571429</c:v>
                </c:pt>
                <c:pt idx="3">
                  <c:v>18.181818181818187</c:v>
                </c:pt>
                <c:pt idx="4">
                  <c:v>27.272727272727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1-A28B-4F5D-8D65-251F9DF2DC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530079311"/>
        <c:axId val="1"/>
      </c:barChart>
      <c:catAx>
        <c:axId val="530079311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530079311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478721669655959E-3"/>
          <c:y val="8.2433758586849856E-2"/>
          <c:w val="0.98304255666068807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61B8-4E20-A74C-84436320A984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61B8-4E20-A74C-84436320A98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61B8-4E20-A74C-84436320A9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4</c:v>
                </c:pt>
                <c:pt idx="1">
                  <c:v>3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61B8-4E20-A74C-84436320A984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3"/>
              <c:layout>
                <c:manualLayout>
                  <c:x val="6.310125550301647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61B8-4E20-A74C-84436320A984}"/>
                </c:ext>
              </c:extLst>
            </c:dLbl>
            <c:dLbl>
              <c:idx val="4"/>
              <c:layout>
                <c:manualLayout>
                  <c:x val="6.3101255503016471E-2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4</c:v>
                </c:pt>
                <c:pt idx="1">
                  <c:v>4</c:v>
                </c:pt>
                <c:pt idx="2">
                  <c:v>2</c:v>
                </c:pt>
                <c:pt idx="3">
                  <c:v>1</c:v>
                </c:pt>
                <c:pt idx="4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1B8-4E20-A74C-84436320A984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61B8-4E20-A74C-84436320A984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61B8-4E20-A74C-84436320A9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61B8-4E20-A74C-84436320A98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61B8-4E20-A74C-84436320A98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E$3</c:f>
              <c:numCache>
                <c:formatCode>General</c:formatCode>
                <c:ptCount val="5"/>
                <c:pt idx="0">
                  <c:v>3</c:v>
                </c:pt>
                <c:pt idx="1">
                  <c:v>4</c:v>
                </c:pt>
                <c:pt idx="2">
                  <c:v>3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61B8-4E20-A74C-84436320A984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val>
            <c:numRef>
              <c:f>Sheet1!$A$4:$E$4</c:f>
              <c:numCache>
                <c:formatCode>General</c:formatCode>
                <c:ptCount val="5"/>
                <c:pt idx="0">
                  <c:v>3</c:v>
                </c:pt>
                <c:pt idx="1">
                  <c:v>2</c:v>
                </c:pt>
                <c:pt idx="2">
                  <c:v>3</c:v>
                </c:pt>
                <c:pt idx="3">
                  <c:v>3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61B8-4E20-A74C-84436320A984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61B8-4E20-A74C-84436320A984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61B8-4E20-A74C-84436320A9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61B8-4E20-A74C-84436320A984}"/>
                </c:ext>
              </c:extLst>
            </c:dLbl>
            <c:dLbl>
              <c:idx val="3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61B8-4E20-A74C-84436320A98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E$5</c:f>
              <c:numCache>
                <c:formatCode>General</c:formatCode>
                <c:ptCount val="5"/>
                <c:pt idx="0">
                  <c:v>3</c:v>
                </c:pt>
                <c:pt idx="1">
                  <c:v>3</c:v>
                </c:pt>
                <c:pt idx="2">
                  <c:v>4</c:v>
                </c:pt>
                <c:pt idx="3">
                  <c:v>4</c:v>
                </c:pt>
                <c:pt idx="4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61B8-4E20-A74C-84436320A984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61B8-4E20-A74C-84436320A984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61B8-4E20-A74C-84436320A984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6-61B8-4E20-A74C-84436320A98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61B8-4E20-A74C-84436320A984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E$6</c:f>
              <c:numCache>
                <c:formatCode>General</c:formatCode>
                <c:ptCount val="5"/>
                <c:pt idx="0">
                  <c:v>2</c:v>
                </c:pt>
                <c:pt idx="1">
                  <c:v>4</c:v>
                </c:pt>
                <c:pt idx="2">
                  <c:v>4</c:v>
                </c:pt>
                <c:pt idx="3">
                  <c:v>7</c:v>
                </c:pt>
                <c:pt idx="4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9-61B8-4E20-A74C-84436320A984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61B8-4E20-A74C-84436320A984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61B8-4E20-A74C-84436320A984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61B8-4E20-A74C-84436320A984}"/>
                </c:ext>
              </c:extLst>
            </c:dLbl>
            <c:dLbl>
              <c:idx val="4"/>
              <c:layout>
                <c:manualLayout>
                  <c:x val="0"/>
                  <c:y val="-4.906771344455348E-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61B8-4E20-A74C-84436320A9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E$7</c:f>
              <c:numCache>
                <c:formatCode>General</c:formatCode>
                <c:ptCount val="5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61B8-4E20-A74C-84436320A9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273083600"/>
        <c:axId val="1"/>
      </c:barChart>
      <c:catAx>
        <c:axId val="12730836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2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2730836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8.2433758586849856E-2"/>
          <c:w val="0.9845628618079264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AB2B-4DEF-AD09-D1673E39A7C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B2B-4DEF-AD09-D1673E39A7C9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AB2B-4DEF-AD09-D1673E39A7C9}"/>
              </c:ext>
            </c:extLst>
          </c:dPt>
          <c:dLbls>
            <c:dLbl>
              <c:idx val="0"/>
              <c:layout>
                <c:manualLayout>
                  <c:x val="5.5217455840878726E-2"/>
                  <c:y val="-1.6683022571148183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B2B-4DEF-AD09-D1673E39A7C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AB2B-4DEF-AD09-D1673E39A7C9}"/>
                </c:ext>
              </c:extLst>
            </c:dLbl>
            <c:dLbl>
              <c:idx val="2"/>
              <c:layout>
                <c:manualLayout>
                  <c:x val="5.5217455840878726E-2"/>
                  <c:y val="-2.109911678115799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B2B-4DEF-AD09-D1673E39A7C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AB2B-4DEF-AD09-D1673E39A7C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AB2B-4DEF-AD09-D1673E39A7C9}"/>
                </c:ext>
              </c:extLst>
            </c:dLbl>
            <c:dLbl>
              <c:idx val="5"/>
              <c:layout>
                <c:manualLayout>
                  <c:x val="5.5217455840878726E-2"/>
                  <c:y val="-2.99313052011776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B2B-4DEF-AD09-D1673E39A7C9}"/>
                </c:ext>
              </c:extLst>
            </c:dLbl>
            <c:dLbl>
              <c:idx val="6"/>
              <c:layout>
                <c:manualLayout>
                  <c:x val="5.5217455840878726E-2"/>
                  <c:y val="-2.74779195289499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7297297297297298</c:v>
                </c:pt>
                <c:pt idx="1">
                  <c:v>12.57606490872211</c:v>
                </c:pt>
                <c:pt idx="2">
                  <c:v>3.6777583187390541</c:v>
                </c:pt>
                <c:pt idx="3">
                  <c:v>12.323943661971832</c:v>
                </c:pt>
                <c:pt idx="4">
                  <c:v>7.3684210526315779</c:v>
                </c:pt>
                <c:pt idx="5">
                  <c:v>1.5503875968992249</c:v>
                </c:pt>
                <c:pt idx="6">
                  <c:v>2.15773809523809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B2B-4DEF-AD09-D1673E39A7C9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AB2B-4DEF-AD09-D1673E39A7C9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AB2B-4DEF-AD09-D1673E39A7C9}"/>
              </c:ext>
            </c:extLst>
          </c:dPt>
          <c:dLbls>
            <c:dLbl>
              <c:idx val="2"/>
              <c:layout>
                <c:manualLayout>
                  <c:x val="5.5217455840878726E-2"/>
                  <c:y val="-4.023552502453385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8.1081081081081106</c:v>
                </c:pt>
                <c:pt idx="1">
                  <c:v>15.212981744421908</c:v>
                </c:pt>
                <c:pt idx="2">
                  <c:v>5.2539404553415059</c:v>
                </c:pt>
                <c:pt idx="3">
                  <c:v>15.845070422535217</c:v>
                </c:pt>
                <c:pt idx="4">
                  <c:v>31.578947368421051</c:v>
                </c:pt>
                <c:pt idx="5">
                  <c:v>7.7519379844961236</c:v>
                </c:pt>
                <c:pt idx="6">
                  <c:v>16.7410714285714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B2B-4DEF-AD09-D1673E39A7C9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AB2B-4DEF-AD09-D1673E39A7C9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AB2B-4DEF-AD09-D1673E39A7C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AB2B-4DEF-AD09-D1673E39A7C9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AB2B-4DEF-AD09-D1673E39A7C9}"/>
                </c:ext>
              </c:extLst>
            </c:dLbl>
            <c:dLbl>
              <c:idx val="2"/>
              <c:layout>
                <c:manualLayout>
                  <c:x val="5.5217455840878726E-2"/>
                  <c:y val="-5.6918547595682038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AB2B-4DEF-AD09-D1673E39A7C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AB2B-4DEF-AD09-D1673E39A7C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AB2B-4DEF-AD09-D1673E39A7C9}"/>
                </c:ext>
              </c:extLst>
            </c:dLbl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AB2B-4DEF-AD09-D1673E39A7C9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8.1081081081081088</c:v>
                </c:pt>
                <c:pt idx="1">
                  <c:v>12.981744421906694</c:v>
                </c:pt>
                <c:pt idx="2">
                  <c:v>4.2031523642732047</c:v>
                </c:pt>
                <c:pt idx="3">
                  <c:v>15.492957746478876</c:v>
                </c:pt>
                <c:pt idx="4">
                  <c:v>28.771929824561404</c:v>
                </c:pt>
                <c:pt idx="5">
                  <c:v>14.470284237726098</c:v>
                </c:pt>
                <c:pt idx="6">
                  <c:v>26.0416666666666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AB2B-4DEF-AD09-D1673E39A7C9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AB2B-4DEF-AD09-D1673E39A7C9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AB2B-4DEF-AD09-D1673E39A7C9}"/>
              </c:ext>
            </c:extLst>
          </c:dPt>
          <c:dLbls>
            <c:dLbl>
              <c:idx val="5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AB2B-4DEF-AD09-D1673E39A7C9}"/>
                </c:ext>
              </c:extLst>
            </c:dLbl>
            <c:dLbl>
              <c:idx val="6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0.135135135135137</c:v>
                </c:pt>
                <c:pt idx="1">
                  <c:v>12.170385395537526</c:v>
                </c:pt>
                <c:pt idx="2">
                  <c:v>5.253940455341505</c:v>
                </c:pt>
                <c:pt idx="3">
                  <c:v>10.563380281690138</c:v>
                </c:pt>
                <c:pt idx="4">
                  <c:v>10.526315789473683</c:v>
                </c:pt>
                <c:pt idx="5">
                  <c:v>41.343669250645988</c:v>
                </c:pt>
                <c:pt idx="6">
                  <c:v>30.505952380952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AB2B-4DEF-AD09-D1673E39A7C9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AB2B-4DEF-AD09-D1673E39A7C9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AB2B-4DEF-AD09-D1673E39A7C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AB2B-4DEF-AD09-D1673E39A7C9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AB2B-4DEF-AD09-D1673E39A7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AB2B-4DEF-AD09-D1673E39A7C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AB2B-4DEF-AD09-D1673E39A7C9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AB2B-4DEF-AD09-D1673E39A7C9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AB2B-4DEF-AD09-D1673E39A7C9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8.918918918918916</c:v>
                </c:pt>
                <c:pt idx="1">
                  <c:v>22.718052738336713</c:v>
                </c:pt>
                <c:pt idx="2">
                  <c:v>6.6549912434325726</c:v>
                </c:pt>
                <c:pt idx="3">
                  <c:v>26.760563380281688</c:v>
                </c:pt>
                <c:pt idx="4">
                  <c:v>21.754385964912281</c:v>
                </c:pt>
                <c:pt idx="5">
                  <c:v>34.883720930232563</c:v>
                </c:pt>
                <c:pt idx="6">
                  <c:v>24.55357142857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AB2B-4DEF-AD09-D1673E39A7C9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AB2B-4DEF-AD09-D1673E39A7C9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AB2B-4DEF-AD09-D1673E39A7C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AB2B-4DEF-AD09-D1673E39A7C9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AB2B-4DEF-AD09-D1673E39A7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AB2B-4DEF-AD09-D1673E39A7C9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7.702702702702698</c:v>
                </c:pt>
                <c:pt idx="1">
                  <c:v>24.340770791075052</c:v>
                </c:pt>
                <c:pt idx="2">
                  <c:v>28.721541155866898</c:v>
                </c:pt>
                <c:pt idx="3">
                  <c:v>19.014084507042249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AB2B-4DEF-AD09-D1673E39A7C9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AB2B-4DEF-AD09-D1673E39A7C9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AB2B-4DEF-AD09-D1673E39A7C9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AB2B-4DEF-AD09-D1673E39A7C9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AB2B-4DEF-AD09-D1673E39A7C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2.297297297297302</c:v>
                </c:pt>
                <c:pt idx="1">
                  <c:v>0</c:v>
                </c:pt>
                <c:pt idx="2">
                  <c:v>46.234676007005262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AB2B-4DEF-AD09-D1673E39A7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2058257696"/>
        <c:axId val="1"/>
      </c:barChart>
      <c:catAx>
        <c:axId val="20582576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2058257696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718569096036812E-3"/>
          <c:y val="7.9432624113475181E-2"/>
          <c:w val="0.9845628618079264"/>
          <c:h val="0.84113475177304964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76F-4514-9F68-CF94D30F4302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76F-4514-9F68-CF94D30F4302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76F-4514-9F68-CF94D30F4302}"/>
              </c:ext>
            </c:extLst>
          </c:dPt>
          <c:dLbls>
            <c:dLbl>
              <c:idx val="0"/>
              <c:layout>
                <c:manualLayout>
                  <c:x val="5.4772153777645834E-2"/>
                  <c:y val="-1.5130023640661938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76F-4514-9F68-CF94D30F4302}"/>
                </c:ext>
              </c:extLst>
            </c:dLbl>
            <c:dLbl>
              <c:idx val="1"/>
              <c:layout>
                <c:manualLayout>
                  <c:x val="5.4772153777645834E-2"/>
                  <c:y val="-2.600472813238770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76F-4514-9F68-CF94D30F4302}"/>
                </c:ext>
              </c:extLst>
            </c:dLbl>
            <c:dLbl>
              <c:idx val="2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2.97872340425531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76F-4514-9F68-CF94D30F4302}"/>
                </c:ext>
              </c:extLst>
            </c:dLbl>
            <c:dLbl>
              <c:idx val="4"/>
              <c:layout>
                <c:manualLayout>
                  <c:x val="5.4772153777645834E-2"/>
                  <c:y val="-3.2151300236406617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76F-4514-9F68-CF94D30F4302}"/>
                </c:ext>
              </c:extLst>
            </c:dLbl>
            <c:dLbl>
              <c:idx val="5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76F-4514-9F68-CF94D30F4302}"/>
                </c:ext>
              </c:extLst>
            </c:dLbl>
            <c:dLbl>
              <c:idx val="6"/>
              <c:layout>
                <c:manualLayout>
                  <c:x val="5.0912869229627428E-2"/>
                  <c:y val="-3.30969267139479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700</c:v>
                </c:pt>
                <c:pt idx="1">
                  <c:v>310</c:v>
                </c:pt>
                <c:pt idx="2">
                  <c:v>105</c:v>
                </c:pt>
                <c:pt idx="3">
                  <c:v>175</c:v>
                </c:pt>
                <c:pt idx="4">
                  <c:v>105</c:v>
                </c:pt>
                <c:pt idx="5">
                  <c:v>60</c:v>
                </c:pt>
                <c:pt idx="6">
                  <c:v>5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76F-4514-9F68-CF94D30F4302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776F-4514-9F68-CF94D30F4302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776F-4514-9F68-CF94D30F4302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6.1465721040189124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76F-4514-9F68-CF94D30F4302}"/>
                </c:ext>
              </c:extLst>
            </c:dLbl>
            <c:dLbl>
              <c:idx val="2"/>
              <c:layout>
                <c:manualLayout>
                  <c:x val="5.4772153777645834E-2"/>
                  <c:y val="-7.8959810874704495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B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76F-4514-9F68-CF94D30F4302}"/>
                </c:ext>
              </c:extLst>
            </c:dLbl>
            <c:dLbl>
              <c:idx val="4"/>
              <c:layout>
                <c:manualLayout>
                  <c:x val="5.4772153777645834E-2"/>
                  <c:y val="-7.0921985815602842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76F-4514-9F68-CF94D30F4302}"/>
                </c:ext>
              </c:extLst>
            </c:dLbl>
            <c:dLbl>
              <c:idx val="5"/>
              <c:layout>
                <c:manualLayout>
                  <c:x val="5.4772153777645834E-2"/>
                  <c:y val="-7.754137115839243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8-776F-4514-9F68-CF94D30F4302}"/>
                </c:ext>
              </c:extLst>
            </c:dLbl>
            <c:dLbl>
              <c:idx val="6"/>
              <c:layout>
                <c:manualLayout>
                  <c:x val="5.4772153777645834E-2"/>
                  <c:y val="-7.32860520094562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1200</c:v>
                </c:pt>
                <c:pt idx="1">
                  <c:v>375</c:v>
                </c:pt>
                <c:pt idx="2">
                  <c:v>150</c:v>
                </c:pt>
                <c:pt idx="3">
                  <c:v>225</c:v>
                </c:pt>
                <c:pt idx="4">
                  <c:v>450</c:v>
                </c:pt>
                <c:pt idx="5">
                  <c:v>300</c:v>
                </c:pt>
                <c:pt idx="6">
                  <c:v>4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76F-4514-9F68-CF94D30F4302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F-776F-4514-9F68-CF94D30F4302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0-776F-4514-9F68-CF94D30F4302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9.6453900709219859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76F-4514-9F68-CF94D30F4302}"/>
                </c:ext>
              </c:extLst>
            </c:dLbl>
            <c:dLbl>
              <c:idx val="2"/>
              <c:layout>
                <c:manualLayout>
                  <c:x val="5.4772153777645834E-2"/>
                  <c:y val="-0.1257683215130023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0.114893617021276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3-776F-4514-9F68-CF94D30F4302}"/>
                </c:ext>
              </c:extLst>
            </c:dLbl>
            <c:dLbl>
              <c:idx val="4"/>
              <c:layout>
                <c:manualLayout>
                  <c:x val="5.4772153777645834E-2"/>
                  <c:y val="-0.1011820330969267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76F-4514-9F68-CF94D30F4302}"/>
                </c:ext>
              </c:extLst>
            </c:dLbl>
            <c:dLbl>
              <c:idx val="5"/>
              <c:layout>
                <c:manualLayout>
                  <c:x val="5.4772153777645834E-2"/>
                  <c:y val="-0.10780141843971631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76F-4514-9F68-CF94D30F4302}"/>
                </c:ext>
              </c:extLst>
            </c:dLbl>
            <c:dLbl>
              <c:idx val="6"/>
              <c:layout>
                <c:manualLayout>
                  <c:x val="5.4772153777645834E-2"/>
                  <c:y val="-9.5508274231678486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1200</c:v>
                </c:pt>
                <c:pt idx="1">
                  <c:v>320</c:v>
                </c:pt>
                <c:pt idx="2">
                  <c:v>120</c:v>
                </c:pt>
                <c:pt idx="3">
                  <c:v>220</c:v>
                </c:pt>
                <c:pt idx="4">
                  <c:v>410</c:v>
                </c:pt>
                <c:pt idx="5">
                  <c:v>560</c:v>
                </c:pt>
                <c:pt idx="6">
                  <c:v>7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5-776F-4514-9F68-CF94D30F4302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6-776F-4514-9F68-CF94D30F4302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776F-4514-9F68-CF94D30F4302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3333333333333333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0.15886524822695036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776F-4514-9F68-CF94D30F4302}"/>
                </c:ext>
              </c:extLst>
            </c:dLbl>
            <c:dLbl>
              <c:idx val="4"/>
              <c:layout>
                <c:manualLayout>
                  <c:x val="5.4772153777645834E-2"/>
                  <c:y val="-0.1394799054373522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776F-4514-9F68-CF94D30F4302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500</c:v>
                </c:pt>
                <c:pt idx="1">
                  <c:v>300</c:v>
                </c:pt>
                <c:pt idx="2">
                  <c:v>150</c:v>
                </c:pt>
                <c:pt idx="3">
                  <c:v>150</c:v>
                </c:pt>
                <c:pt idx="4">
                  <c:v>150</c:v>
                </c:pt>
                <c:pt idx="5">
                  <c:v>1600</c:v>
                </c:pt>
                <c:pt idx="6">
                  <c:v>8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776F-4514-9F68-CF94D30F4302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C-776F-4514-9F68-CF94D30F4302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D-776F-4514-9F68-CF94D30F4302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63593380614657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E-776F-4514-9F68-CF94D30F4302}"/>
                </c:ext>
              </c:extLst>
            </c:dLbl>
            <c:dLbl>
              <c:idx val="2"/>
              <c:layout>
                <c:manualLayout>
                  <c:x val="5.4772153777645834E-2"/>
                  <c:y val="-0.1631205673758865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F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0.1985815602836879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0-776F-4514-9F68-CF94D30F4302}"/>
                </c:ext>
              </c:extLst>
            </c:dLbl>
            <c:dLbl>
              <c:idx val="4"/>
              <c:layout>
                <c:manualLayout>
                  <c:x val="5.4772153777645834E-2"/>
                  <c:y val="-0.1810874704491725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776F-4514-9F68-CF94D30F4302}"/>
                </c:ext>
              </c:extLst>
            </c:dLbl>
            <c:dLbl>
              <c:idx val="6"/>
              <c:layout>
                <c:manualLayout>
                  <c:x val="5.4772153777645834E-2"/>
                  <c:y val="-6.5721040189125293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2800</c:v>
                </c:pt>
                <c:pt idx="1">
                  <c:v>560</c:v>
                </c:pt>
                <c:pt idx="2">
                  <c:v>190</c:v>
                </c:pt>
                <c:pt idx="3">
                  <c:v>380</c:v>
                </c:pt>
                <c:pt idx="4">
                  <c:v>310</c:v>
                </c:pt>
                <c:pt idx="5">
                  <c:v>1350</c:v>
                </c:pt>
                <c:pt idx="6">
                  <c:v>6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2-776F-4514-9F68-CF94D30F4302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3-776F-4514-9F68-CF94D30F4302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4-776F-4514-9F68-CF94D30F4302}"/>
              </c:ext>
            </c:extLst>
          </c:dPt>
          <c:dLbls>
            <c:dLbl>
              <c:idx val="1"/>
              <c:layout>
                <c:manualLayout>
                  <c:x val="5.4772153777645834E-2"/>
                  <c:y val="-0.1853427895981087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5-776F-4514-9F68-CF94D30F4302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6-776F-4514-9F68-CF94D30F4302}"/>
                </c:ext>
              </c:extLst>
            </c:dLbl>
            <c:dLbl>
              <c:idx val="3"/>
              <c:layout>
                <c:manualLayout>
                  <c:x val="5.4772153777645834E-2"/>
                  <c:y val="-0.23451536643026005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7-776F-4514-9F68-CF94D30F4302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4100</c:v>
                </c:pt>
                <c:pt idx="1">
                  <c:v>600</c:v>
                </c:pt>
                <c:pt idx="2">
                  <c:v>820</c:v>
                </c:pt>
                <c:pt idx="3">
                  <c:v>27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8-776F-4514-9F68-CF94D30F4302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9-776F-4514-9F68-CF94D30F4302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A-776F-4514-9F68-CF94D30F4302}"/>
              </c:ext>
            </c:extLst>
          </c:dPt>
          <c:val>
            <c:numRef>
              <c:f>Sheet1!$A$7:$G$7</c:f>
              <c:numCache>
                <c:formatCode>General</c:formatCode>
                <c:ptCount val="7"/>
                <c:pt idx="0">
                  <c:v>3300</c:v>
                </c:pt>
                <c:pt idx="1">
                  <c:v>0</c:v>
                </c:pt>
                <c:pt idx="2">
                  <c:v>132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B-776F-4514-9F68-CF94D30F430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894891359"/>
        <c:axId val="1"/>
      </c:barChart>
      <c:catAx>
        <c:axId val="8948913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894891359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9644662275999388E-3"/>
          <c:y val="8.2433758586849856E-2"/>
          <c:w val="0.98407106754480012"/>
          <c:h val="0.83513248282630026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F0F0F0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F0F0F0"/>
              </a:solidFill>
              <a:ln w="9525" cmpd="sng" algn="ctr">
                <a:solidFill>
                  <a:srgbClr val="E1E1E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5E3-4F4D-9BAA-5E1C17CBDAF8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5E3-4F4D-9BAA-5E1C17CBDAF8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5E3-4F4D-9BAA-5E1C17CBDAF8}"/>
              </c:ext>
            </c:extLst>
          </c:dPt>
          <c:dLbls>
            <c:dLbl>
              <c:idx val="0"/>
              <c:layout>
                <c:manualLayout>
                  <c:x val="5.5598100781130338E-2"/>
                  <c:y val="-1.8645731108930325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75E3-4F4D-9BAA-5E1C17CBDAF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4-75E3-4F4D-9BAA-5E1C17CBDAF8}"/>
                </c:ext>
              </c:extLst>
            </c:dLbl>
            <c:dLbl>
              <c:idx val="2"/>
              <c:layout>
                <c:manualLayout>
                  <c:x val="5.5598100781130338E-2"/>
                  <c:y val="-2.306182531894013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75E3-4F4D-9BAA-5E1C17CBDAF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75E3-4F4D-9BAA-5E1C17CBDAF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6-75E3-4F4D-9BAA-5E1C17CBDAF8}"/>
                </c:ext>
              </c:extLst>
            </c:dLbl>
            <c:dLbl>
              <c:idx val="5"/>
              <c:layout>
                <c:manualLayout>
                  <c:x val="5.5598100781130338E-2"/>
                  <c:y val="-3.1403336604514227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75E3-4F4D-9BAA-5E1C17CBDAF8}"/>
                </c:ext>
              </c:extLst>
            </c:dLbl>
            <c:dLbl>
              <c:idx val="6"/>
              <c:layout>
                <c:manualLayout>
                  <c:x val="5.5598100781130338E-2"/>
                  <c:y val="-3.0421982335623161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2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G$1</c:f>
              <c:numCache>
                <c:formatCode>General</c:formatCode>
                <c:ptCount val="7"/>
                <c:pt idx="0">
                  <c:v>4.2553191489361701</c:v>
                </c:pt>
                <c:pt idx="1">
                  <c:v>12.121212121212121</c:v>
                </c:pt>
                <c:pt idx="2">
                  <c:v>3.1746031746031753</c:v>
                </c:pt>
                <c:pt idx="3">
                  <c:v>11.835748792270531</c:v>
                </c:pt>
                <c:pt idx="4">
                  <c:v>6.8801897983392646</c:v>
                </c:pt>
                <c:pt idx="5">
                  <c:v>1.1857707509881421</c:v>
                </c:pt>
                <c:pt idx="6">
                  <c:v>1.46699266503667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5E3-4F4D-9BAA-5E1C17CBDAF8}"/>
            </c:ext>
          </c:extLst>
        </c:ser>
        <c:ser>
          <c:idx val="1"/>
          <c:order val="1"/>
          <c:spPr>
            <a:pattFill prst="wdUpDiag">
              <a:fgClr>
                <a:srgbClr val="858585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8-75E3-4F4D-9BAA-5E1C17CBDAF8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3AC9A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9-75E3-4F4D-9BAA-5E1C17CBDAF8}"/>
              </c:ext>
            </c:extLst>
          </c:dPt>
          <c:dLbls>
            <c:dLbl>
              <c:idx val="2"/>
              <c:layout>
                <c:manualLayout>
                  <c:x val="5.5598100781130338E-2"/>
                  <c:y val="-4.6123650637880272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A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G$2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4.478114478114479</c:v>
                </c:pt>
                <c:pt idx="2">
                  <c:v>4.7619047619047628</c:v>
                </c:pt>
                <c:pt idx="3">
                  <c:v>14.492753623188406</c:v>
                </c:pt>
                <c:pt idx="4">
                  <c:v>30.2491103202847</c:v>
                </c:pt>
                <c:pt idx="5">
                  <c:v>10.671936758893279</c:v>
                </c:pt>
                <c:pt idx="6">
                  <c:v>19.8044009779951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75E3-4F4D-9BAA-5E1C17CBDAF8}"/>
            </c:ext>
          </c:extLst>
        </c:ser>
        <c:ser>
          <c:idx val="2"/>
          <c:order val="2"/>
          <c:spPr>
            <a:solidFill>
              <a:schemeClr val="accent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C-75E3-4F4D-9BAA-5E1C17CBDAF8}"/>
              </c:ext>
            </c:extLst>
          </c:dPt>
          <c:dPt>
            <c:idx val="6"/>
            <c:invertIfNegative val="0"/>
            <c:bubble3D val="0"/>
            <c:spPr>
              <a:solidFill>
                <a:srgbClr val="82AEB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D-75E3-4F4D-9BAA-5E1C17CBDAF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E-75E3-4F4D-9BAA-5E1C17CBDAF8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F-75E3-4F4D-9BAA-5E1C17CBDAF8}"/>
                </c:ext>
              </c:extLst>
            </c:dLbl>
            <c:dLbl>
              <c:idx val="2"/>
              <c:layout>
                <c:manualLayout>
                  <c:x val="5.5598100781130338E-2"/>
                  <c:y val="-6.7222767419038279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0-75E3-4F4D-9BAA-5E1C17CBDAF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1-75E3-4F4D-9BAA-5E1C17CBDAF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2-75E3-4F4D-9BAA-5E1C17CBDAF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C-75E3-4F4D-9BAA-5E1C17CBDAF8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D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:$G$3</c:f>
              <c:numCache>
                <c:formatCode>General</c:formatCode>
                <c:ptCount val="7"/>
                <c:pt idx="0">
                  <c:v>7.4468085106382977</c:v>
                </c:pt>
                <c:pt idx="1">
                  <c:v>12.794612794612792</c:v>
                </c:pt>
                <c:pt idx="2">
                  <c:v>3.7037037037037051</c:v>
                </c:pt>
                <c:pt idx="3">
                  <c:v>15.700483091787437</c:v>
                </c:pt>
                <c:pt idx="4">
                  <c:v>28.469750889679712</c:v>
                </c:pt>
                <c:pt idx="5">
                  <c:v>11.06719367588933</c:v>
                </c:pt>
                <c:pt idx="6">
                  <c:v>17.1149144254278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75E3-4F4D-9BAA-5E1C17CBDAF8}"/>
            </c:ext>
          </c:extLst>
        </c:ser>
        <c:ser>
          <c:idx val="3"/>
          <c:order val="3"/>
          <c:spPr>
            <a:pattFill prst="wdUpDiag">
              <a:fgClr>
                <a:srgbClr val="83AC9A"/>
              </a:fgClr>
              <a:bgClr>
                <a:srgbClr val="FFFFFF"/>
              </a:bgClr>
            </a:patt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4-75E3-4F4D-9BAA-5E1C17CBDAF8}"/>
              </c:ext>
            </c:extLst>
          </c:dPt>
          <c:dPt>
            <c:idx val="6"/>
            <c:invertIfNegative val="0"/>
            <c:bubble3D val="0"/>
            <c:spPr>
              <a:solidFill>
                <a:srgbClr val="43868B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5-75E3-4F4D-9BAA-5E1C17CBDAF8}"/>
              </c:ext>
            </c:extLst>
          </c:dPt>
          <c:dLbls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4-75E3-4F4D-9BAA-5E1C17CBDAF8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5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4:$G$4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181818181818176</c:v>
                </c:pt>
                <c:pt idx="2">
                  <c:v>7.1428571428571423</c:v>
                </c:pt>
                <c:pt idx="3">
                  <c:v>16.30434782608695</c:v>
                </c:pt>
                <c:pt idx="4">
                  <c:v>16.014234875444842</c:v>
                </c:pt>
                <c:pt idx="5">
                  <c:v>38.735177865612648</c:v>
                </c:pt>
                <c:pt idx="6">
                  <c:v>24.44987775061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6-75E3-4F4D-9BAA-5E1C17CBDAF8}"/>
            </c:ext>
          </c:extLst>
        </c:ser>
        <c:ser>
          <c:idx val="4"/>
          <c:order val="4"/>
          <c:spPr>
            <a:solidFill>
              <a:srgbClr val="82AEB1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7-75E3-4F4D-9BAA-5E1C17CBDAF8}"/>
              </c:ext>
            </c:extLst>
          </c:dPt>
          <c:dPt>
            <c:idx val="6"/>
            <c:invertIfNegative val="0"/>
            <c:bubble3D val="0"/>
            <c:spPr>
              <a:solidFill>
                <a:srgbClr val="045E64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8-75E3-4F4D-9BAA-5E1C17CBDAF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9-75E3-4F4D-9BAA-5E1C17CBDAF8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A-75E3-4F4D-9BAA-5E1C17CBDAF8}"/>
                </c:ext>
              </c:extLst>
            </c:dLbl>
            <c:dLbl>
              <c:idx val="2"/>
              <c:layout>
                <c:manualLayout>
                  <c:x val="5.5598100781130338E-2"/>
                  <c:y val="-2.7968596663395486E-2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B-75E3-4F4D-9BAA-5E1C17CBDAF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C-75E3-4F4D-9BAA-5E1C17CBDAF8}"/>
                </c:ext>
              </c:extLst>
            </c:dLbl>
            <c:dLbl>
              <c:idx val="4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000000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D-75E3-4F4D-9BAA-5E1C17CBDAF8}"/>
                </c:ext>
              </c:extLst>
            </c:dLbl>
            <c:dLbl>
              <c:idx val="5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7-75E3-4F4D-9BAA-5E1C17CBDAF8}"/>
                </c:ext>
              </c:extLst>
            </c:dLbl>
            <c:dLbl>
              <c:idx val="6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18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5:$G$5</c:f>
              <c:numCache>
                <c:formatCode>General</c:formatCode>
                <c:ptCount val="7"/>
                <c:pt idx="0">
                  <c:v>14.361702127659576</c:v>
                </c:pt>
                <c:pt idx="1">
                  <c:v>18.855218855218858</c:v>
                </c:pt>
                <c:pt idx="2">
                  <c:v>5.0264550264550261</c:v>
                </c:pt>
                <c:pt idx="3">
                  <c:v>22.946859903381643</c:v>
                </c:pt>
                <c:pt idx="4">
                  <c:v>18.386714116251479</c:v>
                </c:pt>
                <c:pt idx="5">
                  <c:v>38.339920948616601</c:v>
                </c:pt>
                <c:pt idx="6">
                  <c:v>37.1638141809290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E-75E3-4F4D-9BAA-5E1C17CBDAF8}"/>
            </c:ext>
          </c:extLst>
        </c:ser>
        <c:ser>
          <c:idx val="5"/>
          <c:order val="5"/>
          <c:spPr>
            <a:solidFill>
              <a:srgbClr val="43868B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1F-75E3-4F4D-9BAA-5E1C17CBDAF8}"/>
              </c:ext>
            </c:extLst>
          </c:dPt>
          <c:dPt>
            <c:idx val="6"/>
            <c:invertIfNegative val="0"/>
            <c:bubble3D val="0"/>
            <c:spPr>
              <a:pattFill prst="wdUpDiag">
                <a:fgClr>
                  <a:srgbClr val="858585"/>
                </a:fgClr>
                <a:bgClr>
                  <a:srgbClr val="FFFFFF"/>
                </a:bgClr>
              </a:patt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0-75E3-4F4D-9BAA-5E1C17CBDAF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1-75E3-4F4D-9BAA-5E1C17CBDAF8}"/>
                </c:ext>
              </c:extLst>
            </c:dLbl>
            <c:dLbl>
              <c:idx val="1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2-75E3-4F4D-9BAA-5E1C17CBDAF8}"/>
                </c:ext>
              </c:extLst>
            </c:dLbl>
            <c:dLbl>
              <c:idx val="2"/>
              <c:layout>
                <c:manualLayout>
                  <c:x val="0"/>
                  <c:y val="-4.906771344455348E-4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3-75E3-4F4D-9BAA-5E1C17CBDAF8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4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6:$G$6</c:f>
              <c:numCache>
                <c:formatCode>General</c:formatCode>
                <c:ptCount val="7"/>
                <c:pt idx="0">
                  <c:v>26.59574468085107</c:v>
                </c:pt>
                <c:pt idx="1">
                  <c:v>23.569023569023571</c:v>
                </c:pt>
                <c:pt idx="2">
                  <c:v>26.455026455026452</c:v>
                </c:pt>
                <c:pt idx="3">
                  <c:v>18.719806763285028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5-75E3-4F4D-9BAA-5E1C17CBDAF8}"/>
            </c:ext>
          </c:extLst>
        </c:ser>
        <c:ser>
          <c:idx val="6"/>
          <c:order val="6"/>
          <c:spPr>
            <a:solidFill>
              <a:srgbClr val="045E64"/>
            </a:solidFill>
            <a:ln w="9525" cmpd="sng" algn="ctr">
              <a:solidFill>
                <a:srgbClr val="FFFFFF"/>
              </a:solidFill>
              <a:prstDash val="solid"/>
            </a:ln>
          </c:spPr>
          <c:invertIfNegative val="0"/>
          <c:dPt>
            <c:idx val="5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6-75E3-4F4D-9BAA-5E1C17CBDAF8}"/>
              </c:ext>
            </c:extLst>
          </c:dPt>
          <c:dPt>
            <c:idx val="6"/>
            <c:invertIfNegative val="0"/>
            <c:bubble3D val="0"/>
            <c:spPr>
              <a:solidFill>
                <a:srgbClr val="E1E1E1"/>
              </a:solidFill>
              <a:ln w="9525" cmpd="sng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27-75E3-4F4D-9BAA-5E1C17CBDAF8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8-75E3-4F4D-9BAA-5E1C17CBDAF8}"/>
                </c:ext>
              </c:extLst>
            </c:dLbl>
            <c:dLbl>
              <c:idx val="2"/>
              <c:layout>
                <c:manualLayout>
                  <c:x val="0"/>
                  <c:y val="0"/>
                </c:manualLayout>
              </c:layout>
              <c:numFmt formatCode="#,##0&quot; %&quot;;&quot;-&quot;#,##0&quot; 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200" kern="1200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29-75E3-4F4D-9BAA-5E1C17CBDAF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7:$G$7</c:f>
              <c:numCache>
                <c:formatCode>General</c:formatCode>
                <c:ptCount val="7"/>
                <c:pt idx="0">
                  <c:v>25.531914893617014</c:v>
                </c:pt>
                <c:pt idx="1">
                  <c:v>0</c:v>
                </c:pt>
                <c:pt idx="2">
                  <c:v>49.735449735449734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2A-75E3-4F4D-9BAA-5E1C17CBDA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13509888"/>
        <c:axId val="1"/>
      </c:barChart>
      <c:catAx>
        <c:axId val="11135098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cmpd="sng" algn="ctr">
            <a:solidFill>
              <a:srgbClr val="000000"/>
            </a:solidFill>
            <a:prstDash val="solid"/>
          </a:ln>
        </c:spPr>
        <c:crossAx val="11135098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CEE2494-510B-4D17-9189-5776BFF8FB2D}" type="datetimeFigureOut">
              <a:rPr lang="en-US" smtClean="0"/>
              <a:t>11/1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DB3029-C93B-4255-B3D3-8FFCF34A0F3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03809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48094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97166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6974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72079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757793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476854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4566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352218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47066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355348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65064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799176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2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51665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83384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4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338200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1810590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2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485191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C56616-B1C8-4595-86FF-D436C011E50F}" type="slidenum">
              <a:rPr lang="en-GB" smtClean="0"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301077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C56616-B1C8-4595-86FF-D436C011E50F}" type="slidenum">
              <a:rPr lang="en-GB" smtClean="0"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292755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C56616-B1C8-4595-86FF-D436C011E50F}" type="slidenum">
              <a:rPr lang="en-GB" smtClean="0"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4637823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0C56616-B1C8-4595-86FF-D436C011E50F}" type="slidenum">
              <a:rPr lang="en-GB" smtClean="0"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3192949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DB3029-C93B-4255-B3D3-8FFCF34A0F31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71264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5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025071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3DB3029-C93B-4255-B3D3-8FFCF34A0F31}" type="slidenum">
              <a:rPr lang="en-US" smtClean="0"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29123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5601452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7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395097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7815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61853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0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152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177800" marR="0" lvl="0" indent="-177800" algn="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Char char="•"/>
              <a:tabLst/>
              <a:defRPr/>
            </a:pPr>
            <a:fld id="{71D4F3E0-0BE6-4B30-A614-DAA3D6107DC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177800" marR="0" lvl="0" indent="-177800" algn="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Char char="•"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1651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334963" y="5077602"/>
            <a:ext cx="884858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indent="0">
              <a:buNone/>
            </a:pPr>
            <a:r>
              <a:rPr lang="en-US" sz="1600" b="1" cap="all" spc="300" baseline="0" dirty="0">
                <a:solidFill>
                  <a:schemeClr val="tx1"/>
                </a:solidFill>
              </a:rPr>
              <a:t>Draft</a:t>
            </a:r>
          </a:p>
        </p:txBody>
      </p:sp>
      <p:cxnSp>
        <p:nvCxnSpPr>
          <p:cNvPr id="5" name="SeparatorLine"/>
          <p:cNvCxnSpPr/>
          <p:nvPr userDrawn="1"/>
        </p:nvCxnSpPr>
        <p:spPr>
          <a:xfrm>
            <a:off x="0" y="4873803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lientLogo"/>
          <p:cNvSpPr>
            <a:spLocks noGrp="1"/>
          </p:cNvSpPr>
          <p:nvPr>
            <p:ph type="pic" sz="quarter" idx="10"/>
          </p:nvPr>
        </p:nvSpPr>
        <p:spPr>
          <a:xfrm>
            <a:off x="8617039" y="3364443"/>
            <a:ext cx="3239999" cy="139964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  <p:pic>
        <p:nvPicPr>
          <p:cNvPr id="8" name="Disclaimer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15468" y="6547288"/>
            <a:ext cx="6407451" cy="274344"/>
          </a:xfrm>
          <a:prstGeom prst="rect">
            <a:avLst/>
          </a:prstGeom>
        </p:spPr>
      </p:pic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334965" y="2420938"/>
            <a:ext cx="11522075" cy="90000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add subtitle/contacts/date</a:t>
            </a:r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334964" y="1268413"/>
            <a:ext cx="11522075" cy="900112"/>
          </a:xfrm>
        </p:spPr>
        <p:txBody>
          <a:bodyPr anchor="b"/>
          <a:lstStyle>
            <a:lvl1pPr algn="l">
              <a:spcBef>
                <a:spcPts val="0"/>
              </a:spcBef>
              <a:defRPr sz="2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4012046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042924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BainLogo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7037" y="4998212"/>
            <a:ext cx="3240000" cy="405000"/>
          </a:xfrm>
          <a:prstGeom prst="rect">
            <a:avLst/>
          </a:prstGeom>
        </p:spPr>
      </p:pic>
      <p:cxnSp>
        <p:nvCxnSpPr>
          <p:cNvPr id="39" name="SeparatorLine"/>
          <p:cNvCxnSpPr/>
          <p:nvPr userDrawn="1"/>
        </p:nvCxnSpPr>
        <p:spPr>
          <a:xfrm>
            <a:off x="0" y="5481638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73235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634442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9949F73F-40C4-459A-87F2-5B4A916D8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456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606" imgH="608" progId="TCLayout.ActiveDocument.1">
                  <p:embed/>
                </p:oleObj>
              </mc:Choice>
              <mc:Fallback>
                <p:oleObj name="think-cell Slide" r:id="rId7" imgW="606" imgH="60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49F73F-40C4-459A-87F2-5B4A916D8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tfpConfiguration" hidden="1"/>
          <p:cNvSpPr txBox="1"/>
          <p:nvPr userDrawn="1"/>
        </p:nvSpPr>
        <p:spPr bwMode="hidden">
          <a:xfrm>
            <a:off x="0" y="0"/>
            <a:ext cx="36000" cy="36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indent="0">
              <a:buNone/>
            </a:pPr>
            <a:r>
              <a:rPr lang="en-US" sz="100">
                <a:solidFill>
                  <a:schemeClr val="bg1">
                    <a:alpha val="0"/>
                  </a:schemeClr>
                </a:solidFill>
              </a:rPr>
              <a:t>&lt;BTFP&gt;&lt;!-- BTFPCONFIGURATION:3C627466703E0D0A20203C74656D706C6174652076657273696F6E3D22322E342E302220747970653D226272616E64656422207061676553697A653D227769646573637265656E22202F3E0D0A20203C4775696465733E0D0A202020203C4C656674477569646520786D6C6E733D22323622202F3E0D0A202020203C5269676874477569646520786D6C6E733D2239333422202F3E0D0A202020203C5570706572537469636B6572477569646520786D6C6E733D22363922202F3E0D0A202020203C4C6F776572537469636B6572477569646520786D6C6E733D2231303022202F3E0D0A202020203C426F74746F6D477569646520786D6C6E733D2235313722202F3E0D0A20203C2F4775696465733E0D0A3C2F627466703E --&gt;&lt;/BTFP&gt;</a:t>
            </a:r>
            <a:endParaRPr lang="en-US" sz="100" dirty="0">
              <a:solidFill>
                <a:schemeClr val="bg1">
                  <a:alpha val="0"/>
                </a:schemeClr>
              </a:solidFill>
            </a:endParaRPr>
          </a:p>
        </p:txBody>
      </p:sp>
      <p:sp>
        <p:nvSpPr>
          <p:cNvPr id="19" name="SlideNumber"/>
          <p:cNvSpPr/>
          <p:nvPr userDrawn="1"/>
        </p:nvSpPr>
        <p:spPr bwMode="gray">
          <a:xfrm>
            <a:off x="11715975" y="6649694"/>
            <a:ext cx="141064" cy="138499"/>
          </a:xfrm>
          <a:prstGeom prst="roundRect">
            <a:avLst>
              <a:gd name="adj" fmla="val 0"/>
            </a:avLst>
          </a:prstGeom>
          <a:solidFill>
            <a:schemeClr val="bg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spAutoFit/>
          </a:bodyPr>
          <a:lstStyle/>
          <a:p>
            <a:pPr marL="0" indent="0" algn="r" defTabSz="711200" rtl="0" eaLnBrk="1" latinLnBrk="0" hangingPunct="1">
              <a:spcBef>
                <a:spcPts val="1200"/>
              </a:spcBef>
              <a:buNone/>
            </a:pPr>
            <a:fld id="{BB69BBE8-4DB2-4642-B003-B220ACD5A2FD}" type="slidenum">
              <a:rPr lang="en-US" sz="900" b="0" baseline="0" smtClean="0">
                <a:solidFill>
                  <a:schemeClr val="bg2"/>
                </a:solidFill>
                <a:latin typeface="+mn-lt"/>
              </a:rPr>
              <a:pPr marL="0" indent="0" algn="r" defTabSz="711200" rtl="0" eaLnBrk="1" latinLnBrk="0" hangingPunct="1">
                <a:spcBef>
                  <a:spcPts val="1200"/>
                </a:spcBef>
                <a:buNone/>
              </a:pPr>
              <a:t>‹#›</a:t>
            </a:fld>
            <a:endParaRPr lang="en-US" sz="900" b="0" dirty="0">
              <a:solidFill>
                <a:schemeClr val="bg2"/>
              </a:solidFill>
              <a:latin typeface="+mn-lt"/>
            </a:endParaRPr>
          </a:p>
        </p:txBody>
      </p:sp>
      <p:pic>
        <p:nvPicPr>
          <p:cNvPr id="12" name="BainLogo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0000" y="6654664"/>
            <a:ext cx="1152000" cy="144000"/>
          </a:xfrm>
          <a:prstGeom prst="rect">
            <a:avLst/>
          </a:prstGeom>
        </p:spPr>
      </p:pic>
      <p:sp>
        <p:nvSpPr>
          <p:cNvPr id="8" name="CreatedFooter"/>
          <p:cNvSpPr/>
          <p:nvPr userDrawn="1"/>
        </p:nvSpPr>
        <p:spPr>
          <a:xfrm>
            <a:off x="8263033" y="6642830"/>
            <a:ext cx="1368171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Visualisation templates</a:t>
            </a:r>
          </a:p>
        </p:txBody>
      </p:sp>
      <p:sp>
        <p:nvSpPr>
          <p:cNvPr id="7" name="OfficeCode"/>
          <p:cNvSpPr/>
          <p:nvPr userDrawn="1"/>
        </p:nvSpPr>
        <p:spPr>
          <a:xfrm>
            <a:off x="7348519" y="6642830"/>
            <a:ext cx="288036" cy="165036"/>
          </a:xfrm>
          <a:prstGeom prst="rect">
            <a:avLst/>
          </a:prstGeom>
        </p:spPr>
        <p:txBody>
          <a:bodyPr wrap="square" lIns="36000" tIns="36000" rIns="36000" bIns="36000">
            <a:spAutoFit/>
          </a:bodyPr>
          <a:lstStyle/>
          <a:p>
            <a:pPr marL="0" indent="0" algn="ctr" defTabSz="711200" rtl="0" eaLnBrk="1" latinLnBrk="0" hangingPunct="1">
              <a:spcBef>
                <a:spcPts val="1200"/>
              </a:spcBef>
              <a:buNone/>
            </a:pPr>
            <a:r>
              <a:rPr lang="en-US" sz="600" dirty="0">
                <a:solidFill>
                  <a:srgbClr val="FFFFFF"/>
                </a:solidFill>
              </a:rPr>
              <a:t>DBS</a:t>
            </a:r>
          </a:p>
        </p:txBody>
      </p:sp>
      <p:pic>
        <p:nvPicPr>
          <p:cNvPr id="14" name="Disclaimer"/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316547" y="6641266"/>
            <a:ext cx="6407451" cy="176799"/>
          </a:xfrm>
          <a:prstGeom prst="rect">
            <a:avLst/>
          </a:prstGeom>
        </p:spPr>
      </p:pic>
      <p:cxnSp>
        <p:nvCxnSpPr>
          <p:cNvPr id="20" name="FooterSeparatorLine"/>
          <p:cNvCxnSpPr/>
          <p:nvPr userDrawn="1"/>
        </p:nvCxnSpPr>
        <p:spPr>
          <a:xfrm>
            <a:off x="0" y="6598800"/>
            <a:ext cx="11857037" cy="0"/>
          </a:xfrm>
          <a:prstGeom prst="line">
            <a:avLst/>
          </a:prstGeom>
          <a:ln w="9525" cap="flat">
            <a:solidFill>
              <a:schemeClr val="accent1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334435" y="1268413"/>
            <a:ext cx="11522603" cy="5292725"/>
          </a:xfrm>
          <a:prstGeom prst="rect">
            <a:avLst/>
          </a:prstGeom>
        </p:spPr>
        <p:txBody>
          <a:bodyPr vert="horz" lIns="36000" tIns="36000" rIns="36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23" name="TitleSeparatorLine"/>
          <p:cNvCxnSpPr/>
          <p:nvPr userDrawn="1"/>
        </p:nvCxnSpPr>
        <p:spPr>
          <a:xfrm>
            <a:off x="0" y="873125"/>
            <a:ext cx="11857037" cy="0"/>
          </a:xfrm>
          <a:prstGeom prst="line">
            <a:avLst/>
          </a:prstGeom>
          <a:ln w="19050" cap="flat">
            <a:solidFill>
              <a:schemeClr val="accent3"/>
            </a:solidFill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Title"/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  <a:prstGeom prst="rect">
            <a:avLst/>
          </a:prstGeom>
        </p:spPr>
        <p:txBody>
          <a:bodyPr vert="horz" lIns="36000" tIns="36000" rIns="36000" bIns="7200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9795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63" r:id="rId3"/>
    <p:sldLayoutId id="2147483655" r:id="rId4"/>
  </p:sldLayoutIdLst>
  <p:txStyles>
    <p:titleStyle>
      <a:lvl1pPr algn="l" defTabSz="7112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354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1950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4988" indent="-173038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80975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354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177800" indent="-177800" algn="l" defTabSz="711200" rtl="0" eaLnBrk="1" latinLnBrk="0" hangingPunct="1">
        <a:spcBef>
          <a:spcPts val="1200"/>
        </a:spcBef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334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711200" indent="-177800" algn="l" defTabSz="711200" rtl="0" eaLnBrk="1" latinLnBrk="0" hangingPunct="1">
        <a:spcBef>
          <a:spcPts val="600"/>
        </a:spcBef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89000" indent="-177800" algn="l" defTabSz="711200" rtl="0" eaLnBrk="1" latinLnBrk="0" hangingPunct="1">
        <a:spcBef>
          <a:spcPts val="600"/>
        </a:spcBef>
        <a:buChar char="&gt;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0668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2446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4224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600200" algn="l" defTabSz="7112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50" userDrawn="1">
          <p15:clr>
            <a:srgbClr val="D1D1D1"/>
          </p15:clr>
        </p15:guide>
        <p15:guide id="4" orient="horz" pos="799" userDrawn="1">
          <p15:clr>
            <a:srgbClr val="D1D1D1"/>
          </p15:clr>
        </p15:guide>
        <p15:guide id="7" orient="horz" pos="4133" userDrawn="1">
          <p15:clr>
            <a:srgbClr val="D1D1D1"/>
          </p15:clr>
        </p15:guide>
        <p15:guide id="8" pos="208" userDrawn="1">
          <p15:clr>
            <a:srgbClr val="CCCCCC"/>
          </p15:clr>
        </p15:guide>
        <p15:guide id="9" pos="7472" userDrawn="1">
          <p15:clr>
            <a:srgbClr val="CCCCCC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26" Type="http://schemas.openxmlformats.org/officeDocument/2006/relationships/tags" Target="../tags/tag428.xml"/><Relationship Id="rId21" Type="http://schemas.openxmlformats.org/officeDocument/2006/relationships/tags" Target="../tags/tag423.xml"/><Relationship Id="rId42" Type="http://schemas.openxmlformats.org/officeDocument/2006/relationships/tags" Target="../tags/tag444.xml"/><Relationship Id="rId47" Type="http://schemas.openxmlformats.org/officeDocument/2006/relationships/tags" Target="../tags/tag449.xml"/><Relationship Id="rId63" Type="http://schemas.openxmlformats.org/officeDocument/2006/relationships/tags" Target="../tags/tag465.xml"/><Relationship Id="rId68" Type="http://schemas.openxmlformats.org/officeDocument/2006/relationships/tags" Target="../tags/tag470.xml"/><Relationship Id="rId84" Type="http://schemas.openxmlformats.org/officeDocument/2006/relationships/tags" Target="../tags/tag486.xml"/><Relationship Id="rId89" Type="http://schemas.openxmlformats.org/officeDocument/2006/relationships/notesSlide" Target="../notesSlides/notesSlide8.xml"/><Relationship Id="rId16" Type="http://schemas.openxmlformats.org/officeDocument/2006/relationships/tags" Target="../tags/tag418.xml"/><Relationship Id="rId11" Type="http://schemas.openxmlformats.org/officeDocument/2006/relationships/tags" Target="../tags/tag413.xml"/><Relationship Id="rId32" Type="http://schemas.openxmlformats.org/officeDocument/2006/relationships/tags" Target="../tags/tag434.xml"/><Relationship Id="rId37" Type="http://schemas.openxmlformats.org/officeDocument/2006/relationships/tags" Target="../tags/tag439.xml"/><Relationship Id="rId53" Type="http://schemas.openxmlformats.org/officeDocument/2006/relationships/tags" Target="../tags/tag455.xml"/><Relationship Id="rId58" Type="http://schemas.openxmlformats.org/officeDocument/2006/relationships/tags" Target="../tags/tag460.xml"/><Relationship Id="rId74" Type="http://schemas.openxmlformats.org/officeDocument/2006/relationships/tags" Target="../tags/tag476.xml"/><Relationship Id="rId79" Type="http://schemas.openxmlformats.org/officeDocument/2006/relationships/tags" Target="../tags/tag481.xml"/><Relationship Id="rId5" Type="http://schemas.openxmlformats.org/officeDocument/2006/relationships/tags" Target="../tags/tag407.xml"/><Relationship Id="rId90" Type="http://schemas.openxmlformats.org/officeDocument/2006/relationships/oleObject" Target="../embeddings/oleObject11.bin"/><Relationship Id="rId14" Type="http://schemas.openxmlformats.org/officeDocument/2006/relationships/tags" Target="../tags/tag416.xml"/><Relationship Id="rId22" Type="http://schemas.openxmlformats.org/officeDocument/2006/relationships/tags" Target="../tags/tag424.xml"/><Relationship Id="rId27" Type="http://schemas.openxmlformats.org/officeDocument/2006/relationships/tags" Target="../tags/tag429.xml"/><Relationship Id="rId30" Type="http://schemas.openxmlformats.org/officeDocument/2006/relationships/tags" Target="../tags/tag432.xml"/><Relationship Id="rId35" Type="http://schemas.openxmlformats.org/officeDocument/2006/relationships/tags" Target="../tags/tag437.xml"/><Relationship Id="rId43" Type="http://schemas.openxmlformats.org/officeDocument/2006/relationships/tags" Target="../tags/tag445.xml"/><Relationship Id="rId48" Type="http://schemas.openxmlformats.org/officeDocument/2006/relationships/tags" Target="../tags/tag450.xml"/><Relationship Id="rId56" Type="http://schemas.openxmlformats.org/officeDocument/2006/relationships/tags" Target="../tags/tag458.xml"/><Relationship Id="rId64" Type="http://schemas.openxmlformats.org/officeDocument/2006/relationships/tags" Target="../tags/tag466.xml"/><Relationship Id="rId69" Type="http://schemas.openxmlformats.org/officeDocument/2006/relationships/tags" Target="../tags/tag471.xml"/><Relationship Id="rId77" Type="http://schemas.openxmlformats.org/officeDocument/2006/relationships/tags" Target="../tags/tag479.xml"/><Relationship Id="rId8" Type="http://schemas.openxmlformats.org/officeDocument/2006/relationships/tags" Target="../tags/tag410.xml"/><Relationship Id="rId51" Type="http://schemas.openxmlformats.org/officeDocument/2006/relationships/tags" Target="../tags/tag453.xml"/><Relationship Id="rId72" Type="http://schemas.openxmlformats.org/officeDocument/2006/relationships/tags" Target="../tags/tag474.xml"/><Relationship Id="rId80" Type="http://schemas.openxmlformats.org/officeDocument/2006/relationships/tags" Target="../tags/tag482.xml"/><Relationship Id="rId85" Type="http://schemas.openxmlformats.org/officeDocument/2006/relationships/tags" Target="../tags/tag487.xml"/><Relationship Id="rId3" Type="http://schemas.openxmlformats.org/officeDocument/2006/relationships/tags" Target="../tags/tag405.xml"/><Relationship Id="rId12" Type="http://schemas.openxmlformats.org/officeDocument/2006/relationships/tags" Target="../tags/tag414.xml"/><Relationship Id="rId17" Type="http://schemas.openxmlformats.org/officeDocument/2006/relationships/tags" Target="../tags/tag419.xml"/><Relationship Id="rId25" Type="http://schemas.openxmlformats.org/officeDocument/2006/relationships/tags" Target="../tags/tag427.xml"/><Relationship Id="rId33" Type="http://schemas.openxmlformats.org/officeDocument/2006/relationships/tags" Target="../tags/tag435.xml"/><Relationship Id="rId38" Type="http://schemas.openxmlformats.org/officeDocument/2006/relationships/tags" Target="../tags/tag440.xml"/><Relationship Id="rId46" Type="http://schemas.openxmlformats.org/officeDocument/2006/relationships/tags" Target="../tags/tag448.xml"/><Relationship Id="rId59" Type="http://schemas.openxmlformats.org/officeDocument/2006/relationships/tags" Target="../tags/tag461.xml"/><Relationship Id="rId67" Type="http://schemas.openxmlformats.org/officeDocument/2006/relationships/tags" Target="../tags/tag469.xml"/><Relationship Id="rId20" Type="http://schemas.openxmlformats.org/officeDocument/2006/relationships/tags" Target="../tags/tag422.xml"/><Relationship Id="rId41" Type="http://schemas.openxmlformats.org/officeDocument/2006/relationships/tags" Target="../tags/tag443.xml"/><Relationship Id="rId54" Type="http://schemas.openxmlformats.org/officeDocument/2006/relationships/tags" Target="../tags/tag456.xml"/><Relationship Id="rId62" Type="http://schemas.openxmlformats.org/officeDocument/2006/relationships/tags" Target="../tags/tag464.xml"/><Relationship Id="rId70" Type="http://schemas.openxmlformats.org/officeDocument/2006/relationships/tags" Target="../tags/tag472.xml"/><Relationship Id="rId75" Type="http://schemas.openxmlformats.org/officeDocument/2006/relationships/tags" Target="../tags/tag477.xml"/><Relationship Id="rId83" Type="http://schemas.openxmlformats.org/officeDocument/2006/relationships/tags" Target="../tags/tag485.xml"/><Relationship Id="rId88" Type="http://schemas.openxmlformats.org/officeDocument/2006/relationships/slideLayout" Target="../slideLayouts/slideLayout2.xml"/><Relationship Id="rId91" Type="http://schemas.openxmlformats.org/officeDocument/2006/relationships/image" Target="../media/image1.emf"/><Relationship Id="rId1" Type="http://schemas.openxmlformats.org/officeDocument/2006/relationships/tags" Target="../tags/tag403.xml"/><Relationship Id="rId6" Type="http://schemas.openxmlformats.org/officeDocument/2006/relationships/tags" Target="../tags/tag408.xml"/><Relationship Id="rId15" Type="http://schemas.openxmlformats.org/officeDocument/2006/relationships/tags" Target="../tags/tag417.xml"/><Relationship Id="rId23" Type="http://schemas.openxmlformats.org/officeDocument/2006/relationships/tags" Target="../tags/tag425.xml"/><Relationship Id="rId28" Type="http://schemas.openxmlformats.org/officeDocument/2006/relationships/tags" Target="../tags/tag430.xml"/><Relationship Id="rId36" Type="http://schemas.openxmlformats.org/officeDocument/2006/relationships/tags" Target="../tags/tag438.xml"/><Relationship Id="rId49" Type="http://schemas.openxmlformats.org/officeDocument/2006/relationships/tags" Target="../tags/tag451.xml"/><Relationship Id="rId57" Type="http://schemas.openxmlformats.org/officeDocument/2006/relationships/tags" Target="../tags/tag459.xml"/><Relationship Id="rId10" Type="http://schemas.openxmlformats.org/officeDocument/2006/relationships/tags" Target="../tags/tag412.xml"/><Relationship Id="rId31" Type="http://schemas.openxmlformats.org/officeDocument/2006/relationships/tags" Target="../tags/tag433.xml"/><Relationship Id="rId44" Type="http://schemas.openxmlformats.org/officeDocument/2006/relationships/tags" Target="../tags/tag446.xml"/><Relationship Id="rId52" Type="http://schemas.openxmlformats.org/officeDocument/2006/relationships/tags" Target="../tags/tag454.xml"/><Relationship Id="rId60" Type="http://schemas.openxmlformats.org/officeDocument/2006/relationships/tags" Target="../tags/tag462.xml"/><Relationship Id="rId65" Type="http://schemas.openxmlformats.org/officeDocument/2006/relationships/tags" Target="../tags/tag467.xml"/><Relationship Id="rId73" Type="http://schemas.openxmlformats.org/officeDocument/2006/relationships/tags" Target="../tags/tag475.xml"/><Relationship Id="rId78" Type="http://schemas.openxmlformats.org/officeDocument/2006/relationships/tags" Target="../tags/tag480.xml"/><Relationship Id="rId81" Type="http://schemas.openxmlformats.org/officeDocument/2006/relationships/tags" Target="../tags/tag483.xml"/><Relationship Id="rId86" Type="http://schemas.openxmlformats.org/officeDocument/2006/relationships/tags" Target="../tags/tag488.xml"/><Relationship Id="rId4" Type="http://schemas.openxmlformats.org/officeDocument/2006/relationships/tags" Target="../tags/tag406.xml"/><Relationship Id="rId9" Type="http://schemas.openxmlformats.org/officeDocument/2006/relationships/tags" Target="../tags/tag411.xml"/><Relationship Id="rId13" Type="http://schemas.openxmlformats.org/officeDocument/2006/relationships/tags" Target="../tags/tag415.xml"/><Relationship Id="rId18" Type="http://schemas.openxmlformats.org/officeDocument/2006/relationships/tags" Target="../tags/tag420.xml"/><Relationship Id="rId39" Type="http://schemas.openxmlformats.org/officeDocument/2006/relationships/tags" Target="../tags/tag441.xml"/><Relationship Id="rId34" Type="http://schemas.openxmlformats.org/officeDocument/2006/relationships/tags" Target="../tags/tag436.xml"/><Relationship Id="rId50" Type="http://schemas.openxmlformats.org/officeDocument/2006/relationships/tags" Target="../tags/tag452.xml"/><Relationship Id="rId55" Type="http://schemas.openxmlformats.org/officeDocument/2006/relationships/tags" Target="../tags/tag457.xml"/><Relationship Id="rId76" Type="http://schemas.openxmlformats.org/officeDocument/2006/relationships/tags" Target="../tags/tag478.xml"/><Relationship Id="rId7" Type="http://schemas.openxmlformats.org/officeDocument/2006/relationships/tags" Target="../tags/tag409.xml"/><Relationship Id="rId71" Type="http://schemas.openxmlformats.org/officeDocument/2006/relationships/tags" Target="../tags/tag473.xml"/><Relationship Id="rId92" Type="http://schemas.openxmlformats.org/officeDocument/2006/relationships/chart" Target="../charts/chart8.xml"/><Relationship Id="rId2" Type="http://schemas.openxmlformats.org/officeDocument/2006/relationships/tags" Target="../tags/tag404.xml"/><Relationship Id="rId29" Type="http://schemas.openxmlformats.org/officeDocument/2006/relationships/tags" Target="../tags/tag431.xml"/><Relationship Id="rId24" Type="http://schemas.openxmlformats.org/officeDocument/2006/relationships/tags" Target="../tags/tag426.xml"/><Relationship Id="rId40" Type="http://schemas.openxmlformats.org/officeDocument/2006/relationships/tags" Target="../tags/tag442.xml"/><Relationship Id="rId45" Type="http://schemas.openxmlformats.org/officeDocument/2006/relationships/tags" Target="../tags/tag447.xml"/><Relationship Id="rId66" Type="http://schemas.openxmlformats.org/officeDocument/2006/relationships/tags" Target="../tags/tag468.xml"/><Relationship Id="rId87" Type="http://schemas.openxmlformats.org/officeDocument/2006/relationships/tags" Target="../tags/tag489.xml"/><Relationship Id="rId61" Type="http://schemas.openxmlformats.org/officeDocument/2006/relationships/tags" Target="../tags/tag463.xml"/><Relationship Id="rId82" Type="http://schemas.openxmlformats.org/officeDocument/2006/relationships/tags" Target="../tags/tag484.xml"/><Relationship Id="rId19" Type="http://schemas.openxmlformats.org/officeDocument/2006/relationships/tags" Target="../tags/tag421.xml"/></Relationships>
</file>

<file path=ppt/slides/_rels/slide11.xml.rels><?xml version="1.0" encoding="UTF-8" standalone="yes"?>
<Relationships xmlns="http://schemas.openxmlformats.org/package/2006/relationships"><Relationship Id="rId26" Type="http://schemas.openxmlformats.org/officeDocument/2006/relationships/tags" Target="../tags/tag515.xml"/><Relationship Id="rId21" Type="http://schemas.openxmlformats.org/officeDocument/2006/relationships/tags" Target="../tags/tag510.xml"/><Relationship Id="rId34" Type="http://schemas.openxmlformats.org/officeDocument/2006/relationships/tags" Target="../tags/tag523.xml"/><Relationship Id="rId42" Type="http://schemas.openxmlformats.org/officeDocument/2006/relationships/tags" Target="../tags/tag531.xml"/><Relationship Id="rId47" Type="http://schemas.openxmlformats.org/officeDocument/2006/relationships/tags" Target="../tags/tag536.xml"/><Relationship Id="rId50" Type="http://schemas.openxmlformats.org/officeDocument/2006/relationships/tags" Target="../tags/tag539.xml"/><Relationship Id="rId55" Type="http://schemas.openxmlformats.org/officeDocument/2006/relationships/tags" Target="../tags/tag544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496.xml"/><Relationship Id="rId2" Type="http://schemas.openxmlformats.org/officeDocument/2006/relationships/tags" Target="../tags/tag491.xml"/><Relationship Id="rId16" Type="http://schemas.openxmlformats.org/officeDocument/2006/relationships/tags" Target="../tags/tag505.xml"/><Relationship Id="rId29" Type="http://schemas.openxmlformats.org/officeDocument/2006/relationships/tags" Target="../tags/tag518.xml"/><Relationship Id="rId11" Type="http://schemas.openxmlformats.org/officeDocument/2006/relationships/tags" Target="../tags/tag500.xml"/><Relationship Id="rId24" Type="http://schemas.openxmlformats.org/officeDocument/2006/relationships/tags" Target="../tags/tag513.xml"/><Relationship Id="rId32" Type="http://schemas.openxmlformats.org/officeDocument/2006/relationships/tags" Target="../tags/tag521.xml"/><Relationship Id="rId37" Type="http://schemas.openxmlformats.org/officeDocument/2006/relationships/tags" Target="../tags/tag526.xml"/><Relationship Id="rId40" Type="http://schemas.openxmlformats.org/officeDocument/2006/relationships/tags" Target="../tags/tag529.xml"/><Relationship Id="rId45" Type="http://schemas.openxmlformats.org/officeDocument/2006/relationships/tags" Target="../tags/tag534.xml"/><Relationship Id="rId53" Type="http://schemas.openxmlformats.org/officeDocument/2006/relationships/tags" Target="../tags/tag542.xml"/><Relationship Id="rId58" Type="http://schemas.openxmlformats.org/officeDocument/2006/relationships/tags" Target="../tags/tag547.xml"/><Relationship Id="rId66" Type="http://schemas.openxmlformats.org/officeDocument/2006/relationships/image" Target="../media/image1.emf"/><Relationship Id="rId5" Type="http://schemas.openxmlformats.org/officeDocument/2006/relationships/tags" Target="../tags/tag494.xml"/><Relationship Id="rId61" Type="http://schemas.openxmlformats.org/officeDocument/2006/relationships/tags" Target="../tags/tag550.xml"/><Relationship Id="rId19" Type="http://schemas.openxmlformats.org/officeDocument/2006/relationships/tags" Target="../tags/tag508.xml"/><Relationship Id="rId14" Type="http://schemas.openxmlformats.org/officeDocument/2006/relationships/tags" Target="../tags/tag503.xml"/><Relationship Id="rId22" Type="http://schemas.openxmlformats.org/officeDocument/2006/relationships/tags" Target="../tags/tag511.xml"/><Relationship Id="rId27" Type="http://schemas.openxmlformats.org/officeDocument/2006/relationships/tags" Target="../tags/tag516.xml"/><Relationship Id="rId30" Type="http://schemas.openxmlformats.org/officeDocument/2006/relationships/tags" Target="../tags/tag519.xml"/><Relationship Id="rId35" Type="http://schemas.openxmlformats.org/officeDocument/2006/relationships/tags" Target="../tags/tag524.xml"/><Relationship Id="rId43" Type="http://schemas.openxmlformats.org/officeDocument/2006/relationships/tags" Target="../tags/tag532.xml"/><Relationship Id="rId48" Type="http://schemas.openxmlformats.org/officeDocument/2006/relationships/tags" Target="../tags/tag537.xml"/><Relationship Id="rId56" Type="http://schemas.openxmlformats.org/officeDocument/2006/relationships/tags" Target="../tags/tag545.xml"/><Relationship Id="rId64" Type="http://schemas.openxmlformats.org/officeDocument/2006/relationships/notesSlide" Target="../notesSlides/notesSlide9.xml"/><Relationship Id="rId8" Type="http://schemas.openxmlformats.org/officeDocument/2006/relationships/tags" Target="../tags/tag497.xml"/><Relationship Id="rId51" Type="http://schemas.openxmlformats.org/officeDocument/2006/relationships/tags" Target="../tags/tag540.xml"/><Relationship Id="rId3" Type="http://schemas.openxmlformats.org/officeDocument/2006/relationships/tags" Target="../tags/tag492.xml"/><Relationship Id="rId12" Type="http://schemas.openxmlformats.org/officeDocument/2006/relationships/tags" Target="../tags/tag501.xml"/><Relationship Id="rId17" Type="http://schemas.openxmlformats.org/officeDocument/2006/relationships/tags" Target="../tags/tag506.xml"/><Relationship Id="rId25" Type="http://schemas.openxmlformats.org/officeDocument/2006/relationships/tags" Target="../tags/tag514.xml"/><Relationship Id="rId33" Type="http://schemas.openxmlformats.org/officeDocument/2006/relationships/tags" Target="../tags/tag522.xml"/><Relationship Id="rId38" Type="http://schemas.openxmlformats.org/officeDocument/2006/relationships/tags" Target="../tags/tag527.xml"/><Relationship Id="rId46" Type="http://schemas.openxmlformats.org/officeDocument/2006/relationships/tags" Target="../tags/tag535.xml"/><Relationship Id="rId59" Type="http://schemas.openxmlformats.org/officeDocument/2006/relationships/tags" Target="../tags/tag548.xml"/><Relationship Id="rId67" Type="http://schemas.openxmlformats.org/officeDocument/2006/relationships/chart" Target="../charts/chart9.xml"/><Relationship Id="rId20" Type="http://schemas.openxmlformats.org/officeDocument/2006/relationships/tags" Target="../tags/tag509.xml"/><Relationship Id="rId41" Type="http://schemas.openxmlformats.org/officeDocument/2006/relationships/tags" Target="../tags/tag530.xml"/><Relationship Id="rId54" Type="http://schemas.openxmlformats.org/officeDocument/2006/relationships/tags" Target="../tags/tag543.xml"/><Relationship Id="rId62" Type="http://schemas.openxmlformats.org/officeDocument/2006/relationships/tags" Target="../tags/tag551.xml"/><Relationship Id="rId1" Type="http://schemas.openxmlformats.org/officeDocument/2006/relationships/tags" Target="../tags/tag490.xml"/><Relationship Id="rId6" Type="http://schemas.openxmlformats.org/officeDocument/2006/relationships/tags" Target="../tags/tag495.xml"/><Relationship Id="rId15" Type="http://schemas.openxmlformats.org/officeDocument/2006/relationships/tags" Target="../tags/tag504.xml"/><Relationship Id="rId23" Type="http://schemas.openxmlformats.org/officeDocument/2006/relationships/tags" Target="../tags/tag512.xml"/><Relationship Id="rId28" Type="http://schemas.openxmlformats.org/officeDocument/2006/relationships/tags" Target="../tags/tag517.xml"/><Relationship Id="rId36" Type="http://schemas.openxmlformats.org/officeDocument/2006/relationships/tags" Target="../tags/tag525.xml"/><Relationship Id="rId49" Type="http://schemas.openxmlformats.org/officeDocument/2006/relationships/tags" Target="../tags/tag538.xml"/><Relationship Id="rId57" Type="http://schemas.openxmlformats.org/officeDocument/2006/relationships/tags" Target="../tags/tag546.xml"/><Relationship Id="rId10" Type="http://schemas.openxmlformats.org/officeDocument/2006/relationships/tags" Target="../tags/tag499.xml"/><Relationship Id="rId31" Type="http://schemas.openxmlformats.org/officeDocument/2006/relationships/tags" Target="../tags/tag520.xml"/><Relationship Id="rId44" Type="http://schemas.openxmlformats.org/officeDocument/2006/relationships/tags" Target="../tags/tag533.xml"/><Relationship Id="rId52" Type="http://schemas.openxmlformats.org/officeDocument/2006/relationships/tags" Target="../tags/tag541.xml"/><Relationship Id="rId60" Type="http://schemas.openxmlformats.org/officeDocument/2006/relationships/tags" Target="../tags/tag549.xml"/><Relationship Id="rId65" Type="http://schemas.openxmlformats.org/officeDocument/2006/relationships/oleObject" Target="../embeddings/oleObject12.bin"/><Relationship Id="rId4" Type="http://schemas.openxmlformats.org/officeDocument/2006/relationships/tags" Target="../tags/tag493.xml"/><Relationship Id="rId9" Type="http://schemas.openxmlformats.org/officeDocument/2006/relationships/tags" Target="../tags/tag498.xml"/><Relationship Id="rId13" Type="http://schemas.openxmlformats.org/officeDocument/2006/relationships/tags" Target="../tags/tag502.xml"/><Relationship Id="rId18" Type="http://schemas.openxmlformats.org/officeDocument/2006/relationships/tags" Target="../tags/tag507.xml"/><Relationship Id="rId39" Type="http://schemas.openxmlformats.org/officeDocument/2006/relationships/tags" Target="../tags/tag528.xml"/></Relationships>
</file>

<file path=ppt/slides/_rels/slide12.xml.rels><?xml version="1.0" encoding="UTF-8" standalone="yes"?>
<Relationships xmlns="http://schemas.openxmlformats.org/package/2006/relationships"><Relationship Id="rId26" Type="http://schemas.openxmlformats.org/officeDocument/2006/relationships/tags" Target="../tags/tag577.xml"/><Relationship Id="rId117" Type="http://schemas.openxmlformats.org/officeDocument/2006/relationships/tags" Target="../tags/tag668.xml"/><Relationship Id="rId21" Type="http://schemas.openxmlformats.org/officeDocument/2006/relationships/tags" Target="../tags/tag572.xml"/><Relationship Id="rId42" Type="http://schemas.openxmlformats.org/officeDocument/2006/relationships/tags" Target="../tags/tag593.xml"/><Relationship Id="rId47" Type="http://schemas.openxmlformats.org/officeDocument/2006/relationships/tags" Target="../tags/tag598.xml"/><Relationship Id="rId63" Type="http://schemas.openxmlformats.org/officeDocument/2006/relationships/tags" Target="../tags/tag614.xml"/><Relationship Id="rId68" Type="http://schemas.openxmlformats.org/officeDocument/2006/relationships/tags" Target="../tags/tag619.xml"/><Relationship Id="rId84" Type="http://schemas.openxmlformats.org/officeDocument/2006/relationships/tags" Target="../tags/tag635.xml"/><Relationship Id="rId89" Type="http://schemas.openxmlformats.org/officeDocument/2006/relationships/tags" Target="../tags/tag640.xml"/><Relationship Id="rId112" Type="http://schemas.openxmlformats.org/officeDocument/2006/relationships/tags" Target="../tags/tag663.xml"/><Relationship Id="rId16" Type="http://schemas.openxmlformats.org/officeDocument/2006/relationships/tags" Target="../tags/tag567.xml"/><Relationship Id="rId107" Type="http://schemas.openxmlformats.org/officeDocument/2006/relationships/tags" Target="../tags/tag658.xml"/><Relationship Id="rId11" Type="http://schemas.openxmlformats.org/officeDocument/2006/relationships/tags" Target="../tags/tag562.xml"/><Relationship Id="rId32" Type="http://schemas.openxmlformats.org/officeDocument/2006/relationships/tags" Target="../tags/tag583.xml"/><Relationship Id="rId37" Type="http://schemas.openxmlformats.org/officeDocument/2006/relationships/tags" Target="../tags/tag588.xml"/><Relationship Id="rId53" Type="http://schemas.openxmlformats.org/officeDocument/2006/relationships/tags" Target="../tags/tag604.xml"/><Relationship Id="rId58" Type="http://schemas.openxmlformats.org/officeDocument/2006/relationships/tags" Target="../tags/tag609.xml"/><Relationship Id="rId74" Type="http://schemas.openxmlformats.org/officeDocument/2006/relationships/tags" Target="../tags/tag625.xml"/><Relationship Id="rId79" Type="http://schemas.openxmlformats.org/officeDocument/2006/relationships/tags" Target="../tags/tag630.xml"/><Relationship Id="rId102" Type="http://schemas.openxmlformats.org/officeDocument/2006/relationships/tags" Target="../tags/tag653.xml"/><Relationship Id="rId123" Type="http://schemas.openxmlformats.org/officeDocument/2006/relationships/tags" Target="../tags/tag674.xml"/><Relationship Id="rId128" Type="http://schemas.openxmlformats.org/officeDocument/2006/relationships/chart" Target="../charts/chart10.xml"/><Relationship Id="rId5" Type="http://schemas.openxmlformats.org/officeDocument/2006/relationships/tags" Target="../tags/tag556.xml"/><Relationship Id="rId90" Type="http://schemas.openxmlformats.org/officeDocument/2006/relationships/tags" Target="../tags/tag641.xml"/><Relationship Id="rId95" Type="http://schemas.openxmlformats.org/officeDocument/2006/relationships/tags" Target="../tags/tag646.xml"/><Relationship Id="rId22" Type="http://schemas.openxmlformats.org/officeDocument/2006/relationships/tags" Target="../tags/tag573.xml"/><Relationship Id="rId27" Type="http://schemas.openxmlformats.org/officeDocument/2006/relationships/tags" Target="../tags/tag578.xml"/><Relationship Id="rId43" Type="http://schemas.openxmlformats.org/officeDocument/2006/relationships/tags" Target="../tags/tag594.xml"/><Relationship Id="rId48" Type="http://schemas.openxmlformats.org/officeDocument/2006/relationships/tags" Target="../tags/tag599.xml"/><Relationship Id="rId64" Type="http://schemas.openxmlformats.org/officeDocument/2006/relationships/tags" Target="../tags/tag615.xml"/><Relationship Id="rId69" Type="http://schemas.openxmlformats.org/officeDocument/2006/relationships/tags" Target="../tags/tag620.xml"/><Relationship Id="rId113" Type="http://schemas.openxmlformats.org/officeDocument/2006/relationships/tags" Target="../tags/tag664.xml"/><Relationship Id="rId118" Type="http://schemas.openxmlformats.org/officeDocument/2006/relationships/tags" Target="../tags/tag669.xml"/><Relationship Id="rId80" Type="http://schemas.openxmlformats.org/officeDocument/2006/relationships/tags" Target="../tags/tag631.xml"/><Relationship Id="rId85" Type="http://schemas.openxmlformats.org/officeDocument/2006/relationships/tags" Target="../tags/tag636.xml"/><Relationship Id="rId12" Type="http://schemas.openxmlformats.org/officeDocument/2006/relationships/tags" Target="../tags/tag563.xml"/><Relationship Id="rId17" Type="http://schemas.openxmlformats.org/officeDocument/2006/relationships/tags" Target="../tags/tag568.xml"/><Relationship Id="rId33" Type="http://schemas.openxmlformats.org/officeDocument/2006/relationships/tags" Target="../tags/tag584.xml"/><Relationship Id="rId38" Type="http://schemas.openxmlformats.org/officeDocument/2006/relationships/tags" Target="../tags/tag589.xml"/><Relationship Id="rId59" Type="http://schemas.openxmlformats.org/officeDocument/2006/relationships/tags" Target="../tags/tag610.xml"/><Relationship Id="rId103" Type="http://schemas.openxmlformats.org/officeDocument/2006/relationships/tags" Target="../tags/tag654.xml"/><Relationship Id="rId108" Type="http://schemas.openxmlformats.org/officeDocument/2006/relationships/tags" Target="../tags/tag659.xml"/><Relationship Id="rId124" Type="http://schemas.openxmlformats.org/officeDocument/2006/relationships/slideLayout" Target="../slideLayouts/slideLayout2.xml"/><Relationship Id="rId54" Type="http://schemas.openxmlformats.org/officeDocument/2006/relationships/tags" Target="../tags/tag605.xml"/><Relationship Id="rId70" Type="http://schemas.openxmlformats.org/officeDocument/2006/relationships/tags" Target="../tags/tag621.xml"/><Relationship Id="rId75" Type="http://schemas.openxmlformats.org/officeDocument/2006/relationships/tags" Target="../tags/tag626.xml"/><Relationship Id="rId91" Type="http://schemas.openxmlformats.org/officeDocument/2006/relationships/tags" Target="../tags/tag642.xml"/><Relationship Id="rId96" Type="http://schemas.openxmlformats.org/officeDocument/2006/relationships/tags" Target="../tags/tag647.xml"/><Relationship Id="rId1" Type="http://schemas.openxmlformats.org/officeDocument/2006/relationships/tags" Target="../tags/tag552.xml"/><Relationship Id="rId6" Type="http://schemas.openxmlformats.org/officeDocument/2006/relationships/tags" Target="../tags/tag557.xml"/><Relationship Id="rId23" Type="http://schemas.openxmlformats.org/officeDocument/2006/relationships/tags" Target="../tags/tag574.xml"/><Relationship Id="rId28" Type="http://schemas.openxmlformats.org/officeDocument/2006/relationships/tags" Target="../tags/tag579.xml"/><Relationship Id="rId49" Type="http://schemas.openxmlformats.org/officeDocument/2006/relationships/tags" Target="../tags/tag600.xml"/><Relationship Id="rId114" Type="http://schemas.openxmlformats.org/officeDocument/2006/relationships/tags" Target="../tags/tag665.xml"/><Relationship Id="rId119" Type="http://schemas.openxmlformats.org/officeDocument/2006/relationships/tags" Target="../tags/tag670.xml"/><Relationship Id="rId44" Type="http://schemas.openxmlformats.org/officeDocument/2006/relationships/tags" Target="../tags/tag595.xml"/><Relationship Id="rId60" Type="http://schemas.openxmlformats.org/officeDocument/2006/relationships/tags" Target="../tags/tag611.xml"/><Relationship Id="rId65" Type="http://schemas.openxmlformats.org/officeDocument/2006/relationships/tags" Target="../tags/tag616.xml"/><Relationship Id="rId81" Type="http://schemas.openxmlformats.org/officeDocument/2006/relationships/tags" Target="../tags/tag632.xml"/><Relationship Id="rId86" Type="http://schemas.openxmlformats.org/officeDocument/2006/relationships/tags" Target="../tags/tag637.xml"/><Relationship Id="rId13" Type="http://schemas.openxmlformats.org/officeDocument/2006/relationships/tags" Target="../tags/tag564.xml"/><Relationship Id="rId18" Type="http://schemas.openxmlformats.org/officeDocument/2006/relationships/tags" Target="../tags/tag569.xml"/><Relationship Id="rId39" Type="http://schemas.openxmlformats.org/officeDocument/2006/relationships/tags" Target="../tags/tag590.xml"/><Relationship Id="rId109" Type="http://schemas.openxmlformats.org/officeDocument/2006/relationships/tags" Target="../tags/tag660.xml"/><Relationship Id="rId34" Type="http://schemas.openxmlformats.org/officeDocument/2006/relationships/tags" Target="../tags/tag585.xml"/><Relationship Id="rId50" Type="http://schemas.openxmlformats.org/officeDocument/2006/relationships/tags" Target="../tags/tag601.xml"/><Relationship Id="rId55" Type="http://schemas.openxmlformats.org/officeDocument/2006/relationships/tags" Target="../tags/tag606.xml"/><Relationship Id="rId76" Type="http://schemas.openxmlformats.org/officeDocument/2006/relationships/tags" Target="../tags/tag627.xml"/><Relationship Id="rId97" Type="http://schemas.openxmlformats.org/officeDocument/2006/relationships/tags" Target="../tags/tag648.xml"/><Relationship Id="rId104" Type="http://schemas.openxmlformats.org/officeDocument/2006/relationships/tags" Target="../tags/tag655.xml"/><Relationship Id="rId120" Type="http://schemas.openxmlformats.org/officeDocument/2006/relationships/tags" Target="../tags/tag671.xml"/><Relationship Id="rId125" Type="http://schemas.openxmlformats.org/officeDocument/2006/relationships/notesSlide" Target="../notesSlides/notesSlide10.xml"/><Relationship Id="rId7" Type="http://schemas.openxmlformats.org/officeDocument/2006/relationships/tags" Target="../tags/tag558.xml"/><Relationship Id="rId71" Type="http://schemas.openxmlformats.org/officeDocument/2006/relationships/tags" Target="../tags/tag622.xml"/><Relationship Id="rId92" Type="http://schemas.openxmlformats.org/officeDocument/2006/relationships/tags" Target="../tags/tag643.xml"/><Relationship Id="rId2" Type="http://schemas.openxmlformats.org/officeDocument/2006/relationships/tags" Target="../tags/tag553.xml"/><Relationship Id="rId29" Type="http://schemas.openxmlformats.org/officeDocument/2006/relationships/tags" Target="../tags/tag580.xml"/><Relationship Id="rId24" Type="http://schemas.openxmlformats.org/officeDocument/2006/relationships/tags" Target="../tags/tag575.xml"/><Relationship Id="rId40" Type="http://schemas.openxmlformats.org/officeDocument/2006/relationships/tags" Target="../tags/tag591.xml"/><Relationship Id="rId45" Type="http://schemas.openxmlformats.org/officeDocument/2006/relationships/tags" Target="../tags/tag596.xml"/><Relationship Id="rId66" Type="http://schemas.openxmlformats.org/officeDocument/2006/relationships/tags" Target="../tags/tag617.xml"/><Relationship Id="rId87" Type="http://schemas.openxmlformats.org/officeDocument/2006/relationships/tags" Target="../tags/tag638.xml"/><Relationship Id="rId110" Type="http://schemas.openxmlformats.org/officeDocument/2006/relationships/tags" Target="../tags/tag661.xml"/><Relationship Id="rId115" Type="http://schemas.openxmlformats.org/officeDocument/2006/relationships/tags" Target="../tags/tag666.xml"/><Relationship Id="rId61" Type="http://schemas.openxmlformats.org/officeDocument/2006/relationships/tags" Target="../tags/tag612.xml"/><Relationship Id="rId82" Type="http://schemas.openxmlformats.org/officeDocument/2006/relationships/tags" Target="../tags/tag633.xml"/><Relationship Id="rId19" Type="http://schemas.openxmlformats.org/officeDocument/2006/relationships/tags" Target="../tags/tag570.xml"/><Relationship Id="rId14" Type="http://schemas.openxmlformats.org/officeDocument/2006/relationships/tags" Target="../tags/tag565.xml"/><Relationship Id="rId30" Type="http://schemas.openxmlformats.org/officeDocument/2006/relationships/tags" Target="../tags/tag581.xml"/><Relationship Id="rId35" Type="http://schemas.openxmlformats.org/officeDocument/2006/relationships/tags" Target="../tags/tag586.xml"/><Relationship Id="rId56" Type="http://schemas.openxmlformats.org/officeDocument/2006/relationships/tags" Target="../tags/tag607.xml"/><Relationship Id="rId77" Type="http://schemas.openxmlformats.org/officeDocument/2006/relationships/tags" Target="../tags/tag628.xml"/><Relationship Id="rId100" Type="http://schemas.openxmlformats.org/officeDocument/2006/relationships/tags" Target="../tags/tag651.xml"/><Relationship Id="rId105" Type="http://schemas.openxmlformats.org/officeDocument/2006/relationships/tags" Target="../tags/tag656.xml"/><Relationship Id="rId126" Type="http://schemas.openxmlformats.org/officeDocument/2006/relationships/oleObject" Target="../embeddings/oleObject13.bin"/><Relationship Id="rId8" Type="http://schemas.openxmlformats.org/officeDocument/2006/relationships/tags" Target="../tags/tag559.xml"/><Relationship Id="rId51" Type="http://schemas.openxmlformats.org/officeDocument/2006/relationships/tags" Target="../tags/tag602.xml"/><Relationship Id="rId72" Type="http://schemas.openxmlformats.org/officeDocument/2006/relationships/tags" Target="../tags/tag623.xml"/><Relationship Id="rId93" Type="http://schemas.openxmlformats.org/officeDocument/2006/relationships/tags" Target="../tags/tag644.xml"/><Relationship Id="rId98" Type="http://schemas.openxmlformats.org/officeDocument/2006/relationships/tags" Target="../tags/tag649.xml"/><Relationship Id="rId121" Type="http://schemas.openxmlformats.org/officeDocument/2006/relationships/tags" Target="../tags/tag672.xml"/><Relationship Id="rId3" Type="http://schemas.openxmlformats.org/officeDocument/2006/relationships/tags" Target="../tags/tag554.xml"/><Relationship Id="rId25" Type="http://schemas.openxmlformats.org/officeDocument/2006/relationships/tags" Target="../tags/tag576.xml"/><Relationship Id="rId46" Type="http://schemas.openxmlformats.org/officeDocument/2006/relationships/tags" Target="../tags/tag597.xml"/><Relationship Id="rId67" Type="http://schemas.openxmlformats.org/officeDocument/2006/relationships/tags" Target="../tags/tag618.xml"/><Relationship Id="rId116" Type="http://schemas.openxmlformats.org/officeDocument/2006/relationships/tags" Target="../tags/tag667.xml"/><Relationship Id="rId20" Type="http://schemas.openxmlformats.org/officeDocument/2006/relationships/tags" Target="../tags/tag571.xml"/><Relationship Id="rId41" Type="http://schemas.openxmlformats.org/officeDocument/2006/relationships/tags" Target="../tags/tag592.xml"/><Relationship Id="rId62" Type="http://schemas.openxmlformats.org/officeDocument/2006/relationships/tags" Target="../tags/tag613.xml"/><Relationship Id="rId83" Type="http://schemas.openxmlformats.org/officeDocument/2006/relationships/tags" Target="../tags/tag634.xml"/><Relationship Id="rId88" Type="http://schemas.openxmlformats.org/officeDocument/2006/relationships/tags" Target="../tags/tag639.xml"/><Relationship Id="rId111" Type="http://schemas.openxmlformats.org/officeDocument/2006/relationships/tags" Target="../tags/tag662.xml"/><Relationship Id="rId15" Type="http://schemas.openxmlformats.org/officeDocument/2006/relationships/tags" Target="../tags/tag566.xml"/><Relationship Id="rId36" Type="http://schemas.openxmlformats.org/officeDocument/2006/relationships/tags" Target="../tags/tag587.xml"/><Relationship Id="rId57" Type="http://schemas.openxmlformats.org/officeDocument/2006/relationships/tags" Target="../tags/tag608.xml"/><Relationship Id="rId106" Type="http://schemas.openxmlformats.org/officeDocument/2006/relationships/tags" Target="../tags/tag657.xml"/><Relationship Id="rId127" Type="http://schemas.openxmlformats.org/officeDocument/2006/relationships/image" Target="../media/image1.emf"/><Relationship Id="rId10" Type="http://schemas.openxmlformats.org/officeDocument/2006/relationships/tags" Target="../tags/tag561.xml"/><Relationship Id="rId31" Type="http://schemas.openxmlformats.org/officeDocument/2006/relationships/tags" Target="../tags/tag582.xml"/><Relationship Id="rId52" Type="http://schemas.openxmlformats.org/officeDocument/2006/relationships/tags" Target="../tags/tag603.xml"/><Relationship Id="rId73" Type="http://schemas.openxmlformats.org/officeDocument/2006/relationships/tags" Target="../tags/tag624.xml"/><Relationship Id="rId78" Type="http://schemas.openxmlformats.org/officeDocument/2006/relationships/tags" Target="../tags/tag629.xml"/><Relationship Id="rId94" Type="http://schemas.openxmlformats.org/officeDocument/2006/relationships/tags" Target="../tags/tag645.xml"/><Relationship Id="rId99" Type="http://schemas.openxmlformats.org/officeDocument/2006/relationships/tags" Target="../tags/tag650.xml"/><Relationship Id="rId101" Type="http://schemas.openxmlformats.org/officeDocument/2006/relationships/tags" Target="../tags/tag652.xml"/><Relationship Id="rId122" Type="http://schemas.openxmlformats.org/officeDocument/2006/relationships/tags" Target="../tags/tag673.xml"/><Relationship Id="rId4" Type="http://schemas.openxmlformats.org/officeDocument/2006/relationships/tags" Target="../tags/tag555.xml"/><Relationship Id="rId9" Type="http://schemas.openxmlformats.org/officeDocument/2006/relationships/tags" Target="../tags/tag560.xml"/></Relationships>
</file>

<file path=ppt/slides/_rels/slide13.xml.rels><?xml version="1.0" encoding="UTF-8" standalone="yes"?>
<Relationships xmlns="http://schemas.openxmlformats.org/package/2006/relationships"><Relationship Id="rId13" Type="http://schemas.openxmlformats.org/officeDocument/2006/relationships/tags" Target="../tags/tag687.xml"/><Relationship Id="rId18" Type="http://schemas.openxmlformats.org/officeDocument/2006/relationships/tags" Target="../tags/tag692.xml"/><Relationship Id="rId26" Type="http://schemas.openxmlformats.org/officeDocument/2006/relationships/tags" Target="../tags/tag700.xml"/><Relationship Id="rId39" Type="http://schemas.openxmlformats.org/officeDocument/2006/relationships/tags" Target="../tags/tag713.xml"/><Relationship Id="rId21" Type="http://schemas.openxmlformats.org/officeDocument/2006/relationships/tags" Target="../tags/tag695.xml"/><Relationship Id="rId34" Type="http://schemas.openxmlformats.org/officeDocument/2006/relationships/tags" Target="../tags/tag708.xml"/><Relationship Id="rId42" Type="http://schemas.openxmlformats.org/officeDocument/2006/relationships/tags" Target="../tags/tag716.xml"/><Relationship Id="rId47" Type="http://schemas.openxmlformats.org/officeDocument/2006/relationships/tags" Target="../tags/tag721.xml"/><Relationship Id="rId50" Type="http://schemas.openxmlformats.org/officeDocument/2006/relationships/tags" Target="../tags/tag724.xml"/><Relationship Id="rId55" Type="http://schemas.openxmlformats.org/officeDocument/2006/relationships/tags" Target="../tags/tag729.xml"/><Relationship Id="rId7" Type="http://schemas.openxmlformats.org/officeDocument/2006/relationships/tags" Target="../tags/tag681.xml"/><Relationship Id="rId2" Type="http://schemas.openxmlformats.org/officeDocument/2006/relationships/tags" Target="../tags/tag676.xml"/><Relationship Id="rId16" Type="http://schemas.openxmlformats.org/officeDocument/2006/relationships/tags" Target="../tags/tag690.xml"/><Relationship Id="rId29" Type="http://schemas.openxmlformats.org/officeDocument/2006/relationships/tags" Target="../tags/tag703.xml"/><Relationship Id="rId11" Type="http://schemas.openxmlformats.org/officeDocument/2006/relationships/tags" Target="../tags/tag685.xml"/><Relationship Id="rId24" Type="http://schemas.openxmlformats.org/officeDocument/2006/relationships/tags" Target="../tags/tag698.xml"/><Relationship Id="rId32" Type="http://schemas.openxmlformats.org/officeDocument/2006/relationships/tags" Target="../tags/tag706.xml"/><Relationship Id="rId37" Type="http://schemas.openxmlformats.org/officeDocument/2006/relationships/tags" Target="../tags/tag711.xml"/><Relationship Id="rId40" Type="http://schemas.openxmlformats.org/officeDocument/2006/relationships/tags" Target="../tags/tag714.xml"/><Relationship Id="rId45" Type="http://schemas.openxmlformats.org/officeDocument/2006/relationships/tags" Target="../tags/tag719.xml"/><Relationship Id="rId53" Type="http://schemas.openxmlformats.org/officeDocument/2006/relationships/tags" Target="../tags/tag727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679.xml"/><Relationship Id="rId61" Type="http://schemas.openxmlformats.org/officeDocument/2006/relationships/image" Target="../media/image1.emf"/><Relationship Id="rId19" Type="http://schemas.openxmlformats.org/officeDocument/2006/relationships/tags" Target="../tags/tag693.xml"/><Relationship Id="rId14" Type="http://schemas.openxmlformats.org/officeDocument/2006/relationships/tags" Target="../tags/tag688.xml"/><Relationship Id="rId22" Type="http://schemas.openxmlformats.org/officeDocument/2006/relationships/tags" Target="../tags/tag696.xml"/><Relationship Id="rId27" Type="http://schemas.openxmlformats.org/officeDocument/2006/relationships/tags" Target="../tags/tag701.xml"/><Relationship Id="rId30" Type="http://schemas.openxmlformats.org/officeDocument/2006/relationships/tags" Target="../tags/tag704.xml"/><Relationship Id="rId35" Type="http://schemas.openxmlformats.org/officeDocument/2006/relationships/tags" Target="../tags/tag709.xml"/><Relationship Id="rId43" Type="http://schemas.openxmlformats.org/officeDocument/2006/relationships/tags" Target="../tags/tag717.xml"/><Relationship Id="rId48" Type="http://schemas.openxmlformats.org/officeDocument/2006/relationships/tags" Target="../tags/tag722.xml"/><Relationship Id="rId56" Type="http://schemas.openxmlformats.org/officeDocument/2006/relationships/tags" Target="../tags/tag730.xml"/><Relationship Id="rId8" Type="http://schemas.openxmlformats.org/officeDocument/2006/relationships/tags" Target="../tags/tag682.xml"/><Relationship Id="rId51" Type="http://schemas.openxmlformats.org/officeDocument/2006/relationships/tags" Target="../tags/tag725.xml"/><Relationship Id="rId3" Type="http://schemas.openxmlformats.org/officeDocument/2006/relationships/tags" Target="../tags/tag677.xml"/><Relationship Id="rId12" Type="http://schemas.openxmlformats.org/officeDocument/2006/relationships/tags" Target="../tags/tag686.xml"/><Relationship Id="rId17" Type="http://schemas.openxmlformats.org/officeDocument/2006/relationships/tags" Target="../tags/tag691.xml"/><Relationship Id="rId25" Type="http://schemas.openxmlformats.org/officeDocument/2006/relationships/tags" Target="../tags/tag699.xml"/><Relationship Id="rId33" Type="http://schemas.openxmlformats.org/officeDocument/2006/relationships/tags" Target="../tags/tag707.xml"/><Relationship Id="rId38" Type="http://schemas.openxmlformats.org/officeDocument/2006/relationships/tags" Target="../tags/tag712.xml"/><Relationship Id="rId46" Type="http://schemas.openxmlformats.org/officeDocument/2006/relationships/tags" Target="../tags/tag720.xml"/><Relationship Id="rId59" Type="http://schemas.openxmlformats.org/officeDocument/2006/relationships/notesSlide" Target="../notesSlides/notesSlide11.xml"/><Relationship Id="rId20" Type="http://schemas.openxmlformats.org/officeDocument/2006/relationships/tags" Target="../tags/tag694.xml"/><Relationship Id="rId41" Type="http://schemas.openxmlformats.org/officeDocument/2006/relationships/tags" Target="../tags/tag715.xml"/><Relationship Id="rId54" Type="http://schemas.openxmlformats.org/officeDocument/2006/relationships/tags" Target="../tags/tag728.xml"/><Relationship Id="rId62" Type="http://schemas.openxmlformats.org/officeDocument/2006/relationships/chart" Target="../charts/chart11.xml"/><Relationship Id="rId1" Type="http://schemas.openxmlformats.org/officeDocument/2006/relationships/tags" Target="../tags/tag675.xml"/><Relationship Id="rId6" Type="http://schemas.openxmlformats.org/officeDocument/2006/relationships/tags" Target="../tags/tag680.xml"/><Relationship Id="rId15" Type="http://schemas.openxmlformats.org/officeDocument/2006/relationships/tags" Target="../tags/tag689.xml"/><Relationship Id="rId23" Type="http://schemas.openxmlformats.org/officeDocument/2006/relationships/tags" Target="../tags/tag697.xml"/><Relationship Id="rId28" Type="http://schemas.openxmlformats.org/officeDocument/2006/relationships/tags" Target="../tags/tag702.xml"/><Relationship Id="rId36" Type="http://schemas.openxmlformats.org/officeDocument/2006/relationships/tags" Target="../tags/tag710.xml"/><Relationship Id="rId49" Type="http://schemas.openxmlformats.org/officeDocument/2006/relationships/tags" Target="../tags/tag723.xml"/><Relationship Id="rId57" Type="http://schemas.openxmlformats.org/officeDocument/2006/relationships/tags" Target="../tags/tag731.xml"/><Relationship Id="rId10" Type="http://schemas.openxmlformats.org/officeDocument/2006/relationships/tags" Target="../tags/tag684.xml"/><Relationship Id="rId31" Type="http://schemas.openxmlformats.org/officeDocument/2006/relationships/tags" Target="../tags/tag705.xml"/><Relationship Id="rId44" Type="http://schemas.openxmlformats.org/officeDocument/2006/relationships/tags" Target="../tags/tag718.xml"/><Relationship Id="rId52" Type="http://schemas.openxmlformats.org/officeDocument/2006/relationships/tags" Target="../tags/tag726.xml"/><Relationship Id="rId60" Type="http://schemas.openxmlformats.org/officeDocument/2006/relationships/oleObject" Target="../embeddings/oleObject14.bin"/><Relationship Id="rId4" Type="http://schemas.openxmlformats.org/officeDocument/2006/relationships/tags" Target="../tags/tag678.xml"/><Relationship Id="rId9" Type="http://schemas.openxmlformats.org/officeDocument/2006/relationships/tags" Target="../tags/tag683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757.xml"/><Relationship Id="rId21" Type="http://schemas.openxmlformats.org/officeDocument/2006/relationships/tags" Target="../tags/tag752.xml"/><Relationship Id="rId42" Type="http://schemas.openxmlformats.org/officeDocument/2006/relationships/tags" Target="../tags/tag773.xml"/><Relationship Id="rId47" Type="http://schemas.openxmlformats.org/officeDocument/2006/relationships/tags" Target="../tags/tag778.xml"/><Relationship Id="rId63" Type="http://schemas.openxmlformats.org/officeDocument/2006/relationships/tags" Target="../tags/tag794.xml"/><Relationship Id="rId68" Type="http://schemas.openxmlformats.org/officeDocument/2006/relationships/tags" Target="../tags/tag799.xml"/><Relationship Id="rId84" Type="http://schemas.openxmlformats.org/officeDocument/2006/relationships/tags" Target="../tags/tag815.xml"/><Relationship Id="rId89" Type="http://schemas.openxmlformats.org/officeDocument/2006/relationships/image" Target="../media/image1.emf"/><Relationship Id="rId16" Type="http://schemas.openxmlformats.org/officeDocument/2006/relationships/tags" Target="../tags/tag747.xml"/><Relationship Id="rId11" Type="http://schemas.openxmlformats.org/officeDocument/2006/relationships/tags" Target="../tags/tag742.xml"/><Relationship Id="rId32" Type="http://schemas.openxmlformats.org/officeDocument/2006/relationships/tags" Target="../tags/tag763.xml"/><Relationship Id="rId37" Type="http://schemas.openxmlformats.org/officeDocument/2006/relationships/tags" Target="../tags/tag768.xml"/><Relationship Id="rId53" Type="http://schemas.openxmlformats.org/officeDocument/2006/relationships/tags" Target="../tags/tag784.xml"/><Relationship Id="rId58" Type="http://schemas.openxmlformats.org/officeDocument/2006/relationships/tags" Target="../tags/tag789.xml"/><Relationship Id="rId74" Type="http://schemas.openxmlformats.org/officeDocument/2006/relationships/tags" Target="../tags/tag805.xml"/><Relationship Id="rId79" Type="http://schemas.openxmlformats.org/officeDocument/2006/relationships/tags" Target="../tags/tag810.xml"/><Relationship Id="rId5" Type="http://schemas.openxmlformats.org/officeDocument/2006/relationships/tags" Target="../tags/tag736.xml"/><Relationship Id="rId90" Type="http://schemas.openxmlformats.org/officeDocument/2006/relationships/chart" Target="../charts/chart12.xml"/><Relationship Id="rId14" Type="http://schemas.openxmlformats.org/officeDocument/2006/relationships/tags" Target="../tags/tag745.xml"/><Relationship Id="rId22" Type="http://schemas.openxmlformats.org/officeDocument/2006/relationships/tags" Target="../tags/tag753.xml"/><Relationship Id="rId27" Type="http://schemas.openxmlformats.org/officeDocument/2006/relationships/tags" Target="../tags/tag758.xml"/><Relationship Id="rId30" Type="http://schemas.openxmlformats.org/officeDocument/2006/relationships/tags" Target="../tags/tag761.xml"/><Relationship Id="rId35" Type="http://schemas.openxmlformats.org/officeDocument/2006/relationships/tags" Target="../tags/tag766.xml"/><Relationship Id="rId43" Type="http://schemas.openxmlformats.org/officeDocument/2006/relationships/tags" Target="../tags/tag774.xml"/><Relationship Id="rId48" Type="http://schemas.openxmlformats.org/officeDocument/2006/relationships/tags" Target="../tags/tag779.xml"/><Relationship Id="rId56" Type="http://schemas.openxmlformats.org/officeDocument/2006/relationships/tags" Target="../tags/tag787.xml"/><Relationship Id="rId64" Type="http://schemas.openxmlformats.org/officeDocument/2006/relationships/tags" Target="../tags/tag795.xml"/><Relationship Id="rId69" Type="http://schemas.openxmlformats.org/officeDocument/2006/relationships/tags" Target="../tags/tag800.xml"/><Relationship Id="rId77" Type="http://schemas.openxmlformats.org/officeDocument/2006/relationships/tags" Target="../tags/tag808.xml"/><Relationship Id="rId8" Type="http://schemas.openxmlformats.org/officeDocument/2006/relationships/tags" Target="../tags/tag739.xml"/><Relationship Id="rId51" Type="http://schemas.openxmlformats.org/officeDocument/2006/relationships/tags" Target="../tags/tag782.xml"/><Relationship Id="rId72" Type="http://schemas.openxmlformats.org/officeDocument/2006/relationships/tags" Target="../tags/tag803.xml"/><Relationship Id="rId80" Type="http://schemas.openxmlformats.org/officeDocument/2006/relationships/tags" Target="../tags/tag811.xml"/><Relationship Id="rId85" Type="http://schemas.openxmlformats.org/officeDocument/2006/relationships/tags" Target="../tags/tag816.xml"/><Relationship Id="rId3" Type="http://schemas.openxmlformats.org/officeDocument/2006/relationships/tags" Target="../tags/tag734.xml"/><Relationship Id="rId12" Type="http://schemas.openxmlformats.org/officeDocument/2006/relationships/tags" Target="../tags/tag743.xml"/><Relationship Id="rId17" Type="http://schemas.openxmlformats.org/officeDocument/2006/relationships/tags" Target="../tags/tag748.xml"/><Relationship Id="rId25" Type="http://schemas.openxmlformats.org/officeDocument/2006/relationships/tags" Target="../tags/tag756.xml"/><Relationship Id="rId33" Type="http://schemas.openxmlformats.org/officeDocument/2006/relationships/tags" Target="../tags/tag764.xml"/><Relationship Id="rId38" Type="http://schemas.openxmlformats.org/officeDocument/2006/relationships/tags" Target="../tags/tag769.xml"/><Relationship Id="rId46" Type="http://schemas.openxmlformats.org/officeDocument/2006/relationships/tags" Target="../tags/tag777.xml"/><Relationship Id="rId59" Type="http://schemas.openxmlformats.org/officeDocument/2006/relationships/tags" Target="../tags/tag790.xml"/><Relationship Id="rId67" Type="http://schemas.openxmlformats.org/officeDocument/2006/relationships/tags" Target="../tags/tag798.xml"/><Relationship Id="rId20" Type="http://schemas.openxmlformats.org/officeDocument/2006/relationships/tags" Target="../tags/tag751.xml"/><Relationship Id="rId41" Type="http://schemas.openxmlformats.org/officeDocument/2006/relationships/tags" Target="../tags/tag772.xml"/><Relationship Id="rId54" Type="http://schemas.openxmlformats.org/officeDocument/2006/relationships/tags" Target="../tags/tag785.xml"/><Relationship Id="rId62" Type="http://schemas.openxmlformats.org/officeDocument/2006/relationships/tags" Target="../tags/tag793.xml"/><Relationship Id="rId70" Type="http://schemas.openxmlformats.org/officeDocument/2006/relationships/tags" Target="../tags/tag801.xml"/><Relationship Id="rId75" Type="http://schemas.openxmlformats.org/officeDocument/2006/relationships/tags" Target="../tags/tag806.xml"/><Relationship Id="rId83" Type="http://schemas.openxmlformats.org/officeDocument/2006/relationships/tags" Target="../tags/tag814.xml"/><Relationship Id="rId88" Type="http://schemas.openxmlformats.org/officeDocument/2006/relationships/oleObject" Target="../embeddings/oleObject15.bin"/><Relationship Id="rId1" Type="http://schemas.openxmlformats.org/officeDocument/2006/relationships/tags" Target="../tags/tag732.xml"/><Relationship Id="rId6" Type="http://schemas.openxmlformats.org/officeDocument/2006/relationships/tags" Target="../tags/tag737.xml"/><Relationship Id="rId15" Type="http://schemas.openxmlformats.org/officeDocument/2006/relationships/tags" Target="../tags/tag746.xml"/><Relationship Id="rId23" Type="http://schemas.openxmlformats.org/officeDocument/2006/relationships/tags" Target="../tags/tag754.xml"/><Relationship Id="rId28" Type="http://schemas.openxmlformats.org/officeDocument/2006/relationships/tags" Target="../tags/tag759.xml"/><Relationship Id="rId36" Type="http://schemas.openxmlformats.org/officeDocument/2006/relationships/tags" Target="../tags/tag767.xml"/><Relationship Id="rId49" Type="http://schemas.openxmlformats.org/officeDocument/2006/relationships/tags" Target="../tags/tag780.xml"/><Relationship Id="rId57" Type="http://schemas.openxmlformats.org/officeDocument/2006/relationships/tags" Target="../tags/tag788.xml"/><Relationship Id="rId10" Type="http://schemas.openxmlformats.org/officeDocument/2006/relationships/tags" Target="../tags/tag741.xml"/><Relationship Id="rId31" Type="http://schemas.openxmlformats.org/officeDocument/2006/relationships/tags" Target="../tags/tag762.xml"/><Relationship Id="rId44" Type="http://schemas.openxmlformats.org/officeDocument/2006/relationships/tags" Target="../tags/tag775.xml"/><Relationship Id="rId52" Type="http://schemas.openxmlformats.org/officeDocument/2006/relationships/tags" Target="../tags/tag783.xml"/><Relationship Id="rId60" Type="http://schemas.openxmlformats.org/officeDocument/2006/relationships/tags" Target="../tags/tag791.xml"/><Relationship Id="rId65" Type="http://schemas.openxmlformats.org/officeDocument/2006/relationships/tags" Target="../tags/tag796.xml"/><Relationship Id="rId73" Type="http://schemas.openxmlformats.org/officeDocument/2006/relationships/tags" Target="../tags/tag804.xml"/><Relationship Id="rId78" Type="http://schemas.openxmlformats.org/officeDocument/2006/relationships/tags" Target="../tags/tag809.xml"/><Relationship Id="rId81" Type="http://schemas.openxmlformats.org/officeDocument/2006/relationships/tags" Target="../tags/tag812.xml"/><Relationship Id="rId86" Type="http://schemas.openxmlformats.org/officeDocument/2006/relationships/slideLayout" Target="../slideLayouts/slideLayout2.xml"/><Relationship Id="rId4" Type="http://schemas.openxmlformats.org/officeDocument/2006/relationships/tags" Target="../tags/tag735.xml"/><Relationship Id="rId9" Type="http://schemas.openxmlformats.org/officeDocument/2006/relationships/tags" Target="../tags/tag740.xml"/><Relationship Id="rId13" Type="http://schemas.openxmlformats.org/officeDocument/2006/relationships/tags" Target="../tags/tag744.xml"/><Relationship Id="rId18" Type="http://schemas.openxmlformats.org/officeDocument/2006/relationships/tags" Target="../tags/tag749.xml"/><Relationship Id="rId39" Type="http://schemas.openxmlformats.org/officeDocument/2006/relationships/tags" Target="../tags/tag770.xml"/><Relationship Id="rId34" Type="http://schemas.openxmlformats.org/officeDocument/2006/relationships/tags" Target="../tags/tag765.xml"/><Relationship Id="rId50" Type="http://schemas.openxmlformats.org/officeDocument/2006/relationships/tags" Target="../tags/tag781.xml"/><Relationship Id="rId55" Type="http://schemas.openxmlformats.org/officeDocument/2006/relationships/tags" Target="../tags/tag786.xml"/><Relationship Id="rId76" Type="http://schemas.openxmlformats.org/officeDocument/2006/relationships/tags" Target="../tags/tag807.xml"/><Relationship Id="rId7" Type="http://schemas.openxmlformats.org/officeDocument/2006/relationships/tags" Target="../tags/tag738.xml"/><Relationship Id="rId71" Type="http://schemas.openxmlformats.org/officeDocument/2006/relationships/tags" Target="../tags/tag802.xml"/><Relationship Id="rId2" Type="http://schemas.openxmlformats.org/officeDocument/2006/relationships/tags" Target="../tags/tag733.xml"/><Relationship Id="rId29" Type="http://schemas.openxmlformats.org/officeDocument/2006/relationships/tags" Target="../tags/tag760.xml"/><Relationship Id="rId24" Type="http://schemas.openxmlformats.org/officeDocument/2006/relationships/tags" Target="../tags/tag755.xml"/><Relationship Id="rId40" Type="http://schemas.openxmlformats.org/officeDocument/2006/relationships/tags" Target="../tags/tag771.xml"/><Relationship Id="rId45" Type="http://schemas.openxmlformats.org/officeDocument/2006/relationships/tags" Target="../tags/tag776.xml"/><Relationship Id="rId66" Type="http://schemas.openxmlformats.org/officeDocument/2006/relationships/tags" Target="../tags/tag797.xml"/><Relationship Id="rId87" Type="http://schemas.openxmlformats.org/officeDocument/2006/relationships/notesSlide" Target="../notesSlides/notesSlide12.xml"/><Relationship Id="rId61" Type="http://schemas.openxmlformats.org/officeDocument/2006/relationships/tags" Target="../tags/tag792.xml"/><Relationship Id="rId82" Type="http://schemas.openxmlformats.org/officeDocument/2006/relationships/tags" Target="../tags/tag813.xml"/><Relationship Id="rId19" Type="http://schemas.openxmlformats.org/officeDocument/2006/relationships/tags" Target="../tags/tag750.xml"/></Relationships>
</file>

<file path=ppt/slides/_rels/slide15.xml.rels><?xml version="1.0" encoding="UTF-8" standalone="yes"?>
<Relationships xmlns="http://schemas.openxmlformats.org/package/2006/relationships"><Relationship Id="rId26" Type="http://schemas.openxmlformats.org/officeDocument/2006/relationships/tags" Target="../tags/tag842.xml"/><Relationship Id="rId21" Type="http://schemas.openxmlformats.org/officeDocument/2006/relationships/tags" Target="../tags/tag837.xml"/><Relationship Id="rId34" Type="http://schemas.openxmlformats.org/officeDocument/2006/relationships/tags" Target="../tags/tag850.xml"/><Relationship Id="rId42" Type="http://schemas.openxmlformats.org/officeDocument/2006/relationships/tags" Target="../tags/tag858.xml"/><Relationship Id="rId47" Type="http://schemas.openxmlformats.org/officeDocument/2006/relationships/tags" Target="../tags/tag863.xml"/><Relationship Id="rId50" Type="http://schemas.openxmlformats.org/officeDocument/2006/relationships/tags" Target="../tags/tag866.xml"/><Relationship Id="rId55" Type="http://schemas.openxmlformats.org/officeDocument/2006/relationships/tags" Target="../tags/tag871.xml"/><Relationship Id="rId63" Type="http://schemas.openxmlformats.org/officeDocument/2006/relationships/notesSlide" Target="../notesSlides/notesSlide13.xml"/><Relationship Id="rId7" Type="http://schemas.openxmlformats.org/officeDocument/2006/relationships/tags" Target="../tags/tag823.xml"/><Relationship Id="rId2" Type="http://schemas.openxmlformats.org/officeDocument/2006/relationships/tags" Target="../tags/tag818.xml"/><Relationship Id="rId16" Type="http://schemas.openxmlformats.org/officeDocument/2006/relationships/tags" Target="../tags/tag832.xml"/><Relationship Id="rId29" Type="http://schemas.openxmlformats.org/officeDocument/2006/relationships/tags" Target="../tags/tag845.xml"/><Relationship Id="rId11" Type="http://schemas.openxmlformats.org/officeDocument/2006/relationships/tags" Target="../tags/tag827.xml"/><Relationship Id="rId24" Type="http://schemas.openxmlformats.org/officeDocument/2006/relationships/tags" Target="../tags/tag840.xml"/><Relationship Id="rId32" Type="http://schemas.openxmlformats.org/officeDocument/2006/relationships/tags" Target="../tags/tag848.xml"/><Relationship Id="rId37" Type="http://schemas.openxmlformats.org/officeDocument/2006/relationships/tags" Target="../tags/tag853.xml"/><Relationship Id="rId40" Type="http://schemas.openxmlformats.org/officeDocument/2006/relationships/tags" Target="../tags/tag856.xml"/><Relationship Id="rId45" Type="http://schemas.openxmlformats.org/officeDocument/2006/relationships/tags" Target="../tags/tag861.xml"/><Relationship Id="rId53" Type="http://schemas.openxmlformats.org/officeDocument/2006/relationships/tags" Target="../tags/tag869.xml"/><Relationship Id="rId58" Type="http://schemas.openxmlformats.org/officeDocument/2006/relationships/tags" Target="../tags/tag874.xml"/><Relationship Id="rId66" Type="http://schemas.openxmlformats.org/officeDocument/2006/relationships/chart" Target="../charts/chart13.xml"/><Relationship Id="rId5" Type="http://schemas.openxmlformats.org/officeDocument/2006/relationships/tags" Target="../tags/tag821.xml"/><Relationship Id="rId61" Type="http://schemas.openxmlformats.org/officeDocument/2006/relationships/tags" Target="../tags/tag877.xml"/><Relationship Id="rId19" Type="http://schemas.openxmlformats.org/officeDocument/2006/relationships/tags" Target="../tags/tag835.xml"/><Relationship Id="rId14" Type="http://schemas.openxmlformats.org/officeDocument/2006/relationships/tags" Target="../tags/tag830.xml"/><Relationship Id="rId22" Type="http://schemas.openxmlformats.org/officeDocument/2006/relationships/tags" Target="../tags/tag838.xml"/><Relationship Id="rId27" Type="http://schemas.openxmlformats.org/officeDocument/2006/relationships/tags" Target="../tags/tag843.xml"/><Relationship Id="rId30" Type="http://schemas.openxmlformats.org/officeDocument/2006/relationships/tags" Target="../tags/tag846.xml"/><Relationship Id="rId35" Type="http://schemas.openxmlformats.org/officeDocument/2006/relationships/tags" Target="../tags/tag851.xml"/><Relationship Id="rId43" Type="http://schemas.openxmlformats.org/officeDocument/2006/relationships/tags" Target="../tags/tag859.xml"/><Relationship Id="rId48" Type="http://schemas.openxmlformats.org/officeDocument/2006/relationships/tags" Target="../tags/tag864.xml"/><Relationship Id="rId56" Type="http://schemas.openxmlformats.org/officeDocument/2006/relationships/tags" Target="../tags/tag872.xml"/><Relationship Id="rId64" Type="http://schemas.openxmlformats.org/officeDocument/2006/relationships/oleObject" Target="../embeddings/oleObject16.bin"/><Relationship Id="rId8" Type="http://schemas.openxmlformats.org/officeDocument/2006/relationships/tags" Target="../tags/tag824.xml"/><Relationship Id="rId51" Type="http://schemas.openxmlformats.org/officeDocument/2006/relationships/tags" Target="../tags/tag867.xml"/><Relationship Id="rId3" Type="http://schemas.openxmlformats.org/officeDocument/2006/relationships/tags" Target="../tags/tag819.xml"/><Relationship Id="rId12" Type="http://schemas.openxmlformats.org/officeDocument/2006/relationships/tags" Target="../tags/tag828.xml"/><Relationship Id="rId17" Type="http://schemas.openxmlformats.org/officeDocument/2006/relationships/tags" Target="../tags/tag833.xml"/><Relationship Id="rId25" Type="http://schemas.openxmlformats.org/officeDocument/2006/relationships/tags" Target="../tags/tag841.xml"/><Relationship Id="rId33" Type="http://schemas.openxmlformats.org/officeDocument/2006/relationships/tags" Target="../tags/tag849.xml"/><Relationship Id="rId38" Type="http://schemas.openxmlformats.org/officeDocument/2006/relationships/tags" Target="../tags/tag854.xml"/><Relationship Id="rId46" Type="http://schemas.openxmlformats.org/officeDocument/2006/relationships/tags" Target="../tags/tag862.xml"/><Relationship Id="rId59" Type="http://schemas.openxmlformats.org/officeDocument/2006/relationships/tags" Target="../tags/tag875.xml"/><Relationship Id="rId20" Type="http://schemas.openxmlformats.org/officeDocument/2006/relationships/tags" Target="../tags/tag836.xml"/><Relationship Id="rId41" Type="http://schemas.openxmlformats.org/officeDocument/2006/relationships/tags" Target="../tags/tag857.xml"/><Relationship Id="rId54" Type="http://schemas.openxmlformats.org/officeDocument/2006/relationships/tags" Target="../tags/tag870.xml"/><Relationship Id="rId62" Type="http://schemas.openxmlformats.org/officeDocument/2006/relationships/slideLayout" Target="../slideLayouts/slideLayout2.xml"/><Relationship Id="rId1" Type="http://schemas.openxmlformats.org/officeDocument/2006/relationships/tags" Target="../tags/tag817.xml"/><Relationship Id="rId6" Type="http://schemas.openxmlformats.org/officeDocument/2006/relationships/tags" Target="../tags/tag822.xml"/><Relationship Id="rId15" Type="http://schemas.openxmlformats.org/officeDocument/2006/relationships/tags" Target="../tags/tag831.xml"/><Relationship Id="rId23" Type="http://schemas.openxmlformats.org/officeDocument/2006/relationships/tags" Target="../tags/tag839.xml"/><Relationship Id="rId28" Type="http://schemas.openxmlformats.org/officeDocument/2006/relationships/tags" Target="../tags/tag844.xml"/><Relationship Id="rId36" Type="http://schemas.openxmlformats.org/officeDocument/2006/relationships/tags" Target="../tags/tag852.xml"/><Relationship Id="rId49" Type="http://schemas.openxmlformats.org/officeDocument/2006/relationships/tags" Target="../tags/tag865.xml"/><Relationship Id="rId57" Type="http://schemas.openxmlformats.org/officeDocument/2006/relationships/tags" Target="../tags/tag873.xml"/><Relationship Id="rId10" Type="http://schemas.openxmlformats.org/officeDocument/2006/relationships/tags" Target="../tags/tag826.xml"/><Relationship Id="rId31" Type="http://schemas.openxmlformats.org/officeDocument/2006/relationships/tags" Target="../tags/tag847.xml"/><Relationship Id="rId44" Type="http://schemas.openxmlformats.org/officeDocument/2006/relationships/tags" Target="../tags/tag860.xml"/><Relationship Id="rId52" Type="http://schemas.openxmlformats.org/officeDocument/2006/relationships/tags" Target="../tags/tag868.xml"/><Relationship Id="rId60" Type="http://schemas.openxmlformats.org/officeDocument/2006/relationships/tags" Target="../tags/tag876.xml"/><Relationship Id="rId65" Type="http://schemas.openxmlformats.org/officeDocument/2006/relationships/image" Target="../media/image1.emf"/><Relationship Id="rId4" Type="http://schemas.openxmlformats.org/officeDocument/2006/relationships/tags" Target="../tags/tag820.xml"/><Relationship Id="rId9" Type="http://schemas.openxmlformats.org/officeDocument/2006/relationships/tags" Target="../tags/tag825.xml"/><Relationship Id="rId13" Type="http://schemas.openxmlformats.org/officeDocument/2006/relationships/tags" Target="../tags/tag829.xml"/><Relationship Id="rId18" Type="http://schemas.openxmlformats.org/officeDocument/2006/relationships/tags" Target="../tags/tag834.xml"/><Relationship Id="rId39" Type="http://schemas.openxmlformats.org/officeDocument/2006/relationships/tags" Target="../tags/tag855.xml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903.xml"/><Relationship Id="rId21" Type="http://schemas.openxmlformats.org/officeDocument/2006/relationships/tags" Target="../tags/tag898.xml"/><Relationship Id="rId42" Type="http://schemas.openxmlformats.org/officeDocument/2006/relationships/tags" Target="../tags/tag919.xml"/><Relationship Id="rId47" Type="http://schemas.openxmlformats.org/officeDocument/2006/relationships/tags" Target="../tags/tag924.xml"/><Relationship Id="rId63" Type="http://schemas.openxmlformats.org/officeDocument/2006/relationships/tags" Target="../tags/tag940.xml"/><Relationship Id="rId68" Type="http://schemas.openxmlformats.org/officeDocument/2006/relationships/tags" Target="../tags/tag945.xml"/><Relationship Id="rId84" Type="http://schemas.openxmlformats.org/officeDocument/2006/relationships/tags" Target="../tags/tag961.xml"/><Relationship Id="rId89" Type="http://schemas.openxmlformats.org/officeDocument/2006/relationships/notesSlide" Target="../notesSlides/notesSlide14.xml"/><Relationship Id="rId16" Type="http://schemas.openxmlformats.org/officeDocument/2006/relationships/tags" Target="../tags/tag893.xml"/><Relationship Id="rId11" Type="http://schemas.openxmlformats.org/officeDocument/2006/relationships/tags" Target="../tags/tag888.xml"/><Relationship Id="rId32" Type="http://schemas.openxmlformats.org/officeDocument/2006/relationships/tags" Target="../tags/tag909.xml"/><Relationship Id="rId37" Type="http://schemas.openxmlformats.org/officeDocument/2006/relationships/tags" Target="../tags/tag914.xml"/><Relationship Id="rId53" Type="http://schemas.openxmlformats.org/officeDocument/2006/relationships/tags" Target="../tags/tag930.xml"/><Relationship Id="rId58" Type="http://schemas.openxmlformats.org/officeDocument/2006/relationships/tags" Target="../tags/tag935.xml"/><Relationship Id="rId74" Type="http://schemas.openxmlformats.org/officeDocument/2006/relationships/tags" Target="../tags/tag951.xml"/><Relationship Id="rId79" Type="http://schemas.openxmlformats.org/officeDocument/2006/relationships/tags" Target="../tags/tag956.xml"/><Relationship Id="rId5" Type="http://schemas.openxmlformats.org/officeDocument/2006/relationships/tags" Target="../tags/tag882.xml"/><Relationship Id="rId90" Type="http://schemas.openxmlformats.org/officeDocument/2006/relationships/oleObject" Target="../embeddings/oleObject17.bin"/><Relationship Id="rId14" Type="http://schemas.openxmlformats.org/officeDocument/2006/relationships/tags" Target="../tags/tag891.xml"/><Relationship Id="rId22" Type="http://schemas.openxmlformats.org/officeDocument/2006/relationships/tags" Target="../tags/tag899.xml"/><Relationship Id="rId27" Type="http://schemas.openxmlformats.org/officeDocument/2006/relationships/tags" Target="../tags/tag904.xml"/><Relationship Id="rId30" Type="http://schemas.openxmlformats.org/officeDocument/2006/relationships/tags" Target="../tags/tag907.xml"/><Relationship Id="rId35" Type="http://schemas.openxmlformats.org/officeDocument/2006/relationships/tags" Target="../tags/tag912.xml"/><Relationship Id="rId43" Type="http://schemas.openxmlformats.org/officeDocument/2006/relationships/tags" Target="../tags/tag920.xml"/><Relationship Id="rId48" Type="http://schemas.openxmlformats.org/officeDocument/2006/relationships/tags" Target="../tags/tag925.xml"/><Relationship Id="rId56" Type="http://schemas.openxmlformats.org/officeDocument/2006/relationships/tags" Target="../tags/tag933.xml"/><Relationship Id="rId64" Type="http://schemas.openxmlformats.org/officeDocument/2006/relationships/tags" Target="../tags/tag941.xml"/><Relationship Id="rId69" Type="http://schemas.openxmlformats.org/officeDocument/2006/relationships/tags" Target="../tags/tag946.xml"/><Relationship Id="rId77" Type="http://schemas.openxmlformats.org/officeDocument/2006/relationships/tags" Target="../tags/tag954.xml"/><Relationship Id="rId8" Type="http://schemas.openxmlformats.org/officeDocument/2006/relationships/tags" Target="../tags/tag885.xml"/><Relationship Id="rId51" Type="http://schemas.openxmlformats.org/officeDocument/2006/relationships/tags" Target="../tags/tag928.xml"/><Relationship Id="rId72" Type="http://schemas.openxmlformats.org/officeDocument/2006/relationships/tags" Target="../tags/tag949.xml"/><Relationship Id="rId80" Type="http://schemas.openxmlformats.org/officeDocument/2006/relationships/tags" Target="../tags/tag957.xml"/><Relationship Id="rId85" Type="http://schemas.openxmlformats.org/officeDocument/2006/relationships/tags" Target="../tags/tag962.xml"/><Relationship Id="rId3" Type="http://schemas.openxmlformats.org/officeDocument/2006/relationships/tags" Target="../tags/tag880.xml"/><Relationship Id="rId12" Type="http://schemas.openxmlformats.org/officeDocument/2006/relationships/tags" Target="../tags/tag889.xml"/><Relationship Id="rId17" Type="http://schemas.openxmlformats.org/officeDocument/2006/relationships/tags" Target="../tags/tag894.xml"/><Relationship Id="rId25" Type="http://schemas.openxmlformats.org/officeDocument/2006/relationships/tags" Target="../tags/tag902.xml"/><Relationship Id="rId33" Type="http://schemas.openxmlformats.org/officeDocument/2006/relationships/tags" Target="../tags/tag910.xml"/><Relationship Id="rId38" Type="http://schemas.openxmlformats.org/officeDocument/2006/relationships/tags" Target="../tags/tag915.xml"/><Relationship Id="rId46" Type="http://schemas.openxmlformats.org/officeDocument/2006/relationships/tags" Target="../tags/tag923.xml"/><Relationship Id="rId59" Type="http://schemas.openxmlformats.org/officeDocument/2006/relationships/tags" Target="../tags/tag936.xml"/><Relationship Id="rId67" Type="http://schemas.openxmlformats.org/officeDocument/2006/relationships/tags" Target="../tags/tag944.xml"/><Relationship Id="rId20" Type="http://schemas.openxmlformats.org/officeDocument/2006/relationships/tags" Target="../tags/tag897.xml"/><Relationship Id="rId41" Type="http://schemas.openxmlformats.org/officeDocument/2006/relationships/tags" Target="../tags/tag918.xml"/><Relationship Id="rId54" Type="http://schemas.openxmlformats.org/officeDocument/2006/relationships/tags" Target="../tags/tag931.xml"/><Relationship Id="rId62" Type="http://schemas.openxmlformats.org/officeDocument/2006/relationships/tags" Target="../tags/tag939.xml"/><Relationship Id="rId70" Type="http://schemas.openxmlformats.org/officeDocument/2006/relationships/tags" Target="../tags/tag947.xml"/><Relationship Id="rId75" Type="http://schemas.openxmlformats.org/officeDocument/2006/relationships/tags" Target="../tags/tag952.xml"/><Relationship Id="rId83" Type="http://schemas.openxmlformats.org/officeDocument/2006/relationships/tags" Target="../tags/tag960.xml"/><Relationship Id="rId88" Type="http://schemas.openxmlformats.org/officeDocument/2006/relationships/slideLayout" Target="../slideLayouts/slideLayout2.xml"/><Relationship Id="rId91" Type="http://schemas.openxmlformats.org/officeDocument/2006/relationships/image" Target="../media/image1.emf"/><Relationship Id="rId1" Type="http://schemas.openxmlformats.org/officeDocument/2006/relationships/tags" Target="../tags/tag878.xml"/><Relationship Id="rId6" Type="http://schemas.openxmlformats.org/officeDocument/2006/relationships/tags" Target="../tags/tag883.xml"/><Relationship Id="rId15" Type="http://schemas.openxmlformats.org/officeDocument/2006/relationships/tags" Target="../tags/tag892.xml"/><Relationship Id="rId23" Type="http://schemas.openxmlformats.org/officeDocument/2006/relationships/tags" Target="../tags/tag900.xml"/><Relationship Id="rId28" Type="http://schemas.openxmlformats.org/officeDocument/2006/relationships/tags" Target="../tags/tag905.xml"/><Relationship Id="rId36" Type="http://schemas.openxmlformats.org/officeDocument/2006/relationships/tags" Target="../tags/tag913.xml"/><Relationship Id="rId49" Type="http://schemas.openxmlformats.org/officeDocument/2006/relationships/tags" Target="../tags/tag926.xml"/><Relationship Id="rId57" Type="http://schemas.openxmlformats.org/officeDocument/2006/relationships/tags" Target="../tags/tag934.xml"/><Relationship Id="rId10" Type="http://schemas.openxmlformats.org/officeDocument/2006/relationships/tags" Target="../tags/tag887.xml"/><Relationship Id="rId31" Type="http://schemas.openxmlformats.org/officeDocument/2006/relationships/tags" Target="../tags/tag908.xml"/><Relationship Id="rId44" Type="http://schemas.openxmlformats.org/officeDocument/2006/relationships/tags" Target="../tags/tag921.xml"/><Relationship Id="rId52" Type="http://schemas.openxmlformats.org/officeDocument/2006/relationships/tags" Target="../tags/tag929.xml"/><Relationship Id="rId60" Type="http://schemas.openxmlformats.org/officeDocument/2006/relationships/tags" Target="../tags/tag937.xml"/><Relationship Id="rId65" Type="http://schemas.openxmlformats.org/officeDocument/2006/relationships/tags" Target="../tags/tag942.xml"/><Relationship Id="rId73" Type="http://schemas.openxmlformats.org/officeDocument/2006/relationships/tags" Target="../tags/tag950.xml"/><Relationship Id="rId78" Type="http://schemas.openxmlformats.org/officeDocument/2006/relationships/tags" Target="../tags/tag955.xml"/><Relationship Id="rId81" Type="http://schemas.openxmlformats.org/officeDocument/2006/relationships/tags" Target="../tags/tag958.xml"/><Relationship Id="rId86" Type="http://schemas.openxmlformats.org/officeDocument/2006/relationships/tags" Target="../tags/tag963.xml"/><Relationship Id="rId4" Type="http://schemas.openxmlformats.org/officeDocument/2006/relationships/tags" Target="../tags/tag881.xml"/><Relationship Id="rId9" Type="http://schemas.openxmlformats.org/officeDocument/2006/relationships/tags" Target="../tags/tag886.xml"/><Relationship Id="rId13" Type="http://schemas.openxmlformats.org/officeDocument/2006/relationships/tags" Target="../tags/tag890.xml"/><Relationship Id="rId18" Type="http://schemas.openxmlformats.org/officeDocument/2006/relationships/tags" Target="../tags/tag895.xml"/><Relationship Id="rId39" Type="http://schemas.openxmlformats.org/officeDocument/2006/relationships/tags" Target="../tags/tag916.xml"/><Relationship Id="rId34" Type="http://schemas.openxmlformats.org/officeDocument/2006/relationships/tags" Target="../tags/tag911.xml"/><Relationship Id="rId50" Type="http://schemas.openxmlformats.org/officeDocument/2006/relationships/tags" Target="../tags/tag927.xml"/><Relationship Id="rId55" Type="http://schemas.openxmlformats.org/officeDocument/2006/relationships/tags" Target="../tags/tag932.xml"/><Relationship Id="rId76" Type="http://schemas.openxmlformats.org/officeDocument/2006/relationships/tags" Target="../tags/tag953.xml"/><Relationship Id="rId7" Type="http://schemas.openxmlformats.org/officeDocument/2006/relationships/tags" Target="../tags/tag884.xml"/><Relationship Id="rId71" Type="http://schemas.openxmlformats.org/officeDocument/2006/relationships/tags" Target="../tags/tag948.xml"/><Relationship Id="rId92" Type="http://schemas.openxmlformats.org/officeDocument/2006/relationships/chart" Target="../charts/chart14.xml"/><Relationship Id="rId2" Type="http://schemas.openxmlformats.org/officeDocument/2006/relationships/tags" Target="../tags/tag879.xml"/><Relationship Id="rId29" Type="http://schemas.openxmlformats.org/officeDocument/2006/relationships/tags" Target="../tags/tag906.xml"/><Relationship Id="rId24" Type="http://schemas.openxmlformats.org/officeDocument/2006/relationships/tags" Target="../tags/tag901.xml"/><Relationship Id="rId40" Type="http://schemas.openxmlformats.org/officeDocument/2006/relationships/tags" Target="../tags/tag917.xml"/><Relationship Id="rId45" Type="http://schemas.openxmlformats.org/officeDocument/2006/relationships/tags" Target="../tags/tag922.xml"/><Relationship Id="rId66" Type="http://schemas.openxmlformats.org/officeDocument/2006/relationships/tags" Target="../tags/tag943.xml"/><Relationship Id="rId87" Type="http://schemas.openxmlformats.org/officeDocument/2006/relationships/tags" Target="../tags/tag964.xml"/><Relationship Id="rId61" Type="http://schemas.openxmlformats.org/officeDocument/2006/relationships/tags" Target="../tags/tag938.xml"/><Relationship Id="rId82" Type="http://schemas.openxmlformats.org/officeDocument/2006/relationships/tags" Target="../tags/tag959.xml"/><Relationship Id="rId19" Type="http://schemas.openxmlformats.org/officeDocument/2006/relationships/tags" Target="../tags/tag896.xml"/></Relationships>
</file>

<file path=ppt/slides/_rels/slide17.xml.rels><?xml version="1.0" encoding="UTF-8" standalone="yes"?>
<Relationships xmlns="http://schemas.openxmlformats.org/package/2006/relationships"><Relationship Id="rId26" Type="http://schemas.openxmlformats.org/officeDocument/2006/relationships/tags" Target="../tags/tag990.xml"/><Relationship Id="rId21" Type="http://schemas.openxmlformats.org/officeDocument/2006/relationships/tags" Target="../tags/tag985.xml"/><Relationship Id="rId34" Type="http://schemas.openxmlformats.org/officeDocument/2006/relationships/tags" Target="../tags/tag998.xml"/><Relationship Id="rId42" Type="http://schemas.openxmlformats.org/officeDocument/2006/relationships/tags" Target="../tags/tag1006.xml"/><Relationship Id="rId47" Type="http://schemas.openxmlformats.org/officeDocument/2006/relationships/tags" Target="../tags/tag1011.xml"/><Relationship Id="rId50" Type="http://schemas.openxmlformats.org/officeDocument/2006/relationships/tags" Target="../tags/tag1014.xml"/><Relationship Id="rId55" Type="http://schemas.openxmlformats.org/officeDocument/2006/relationships/tags" Target="../tags/tag1019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971.xml"/><Relationship Id="rId2" Type="http://schemas.openxmlformats.org/officeDocument/2006/relationships/tags" Target="../tags/tag966.xml"/><Relationship Id="rId16" Type="http://schemas.openxmlformats.org/officeDocument/2006/relationships/tags" Target="../tags/tag980.xml"/><Relationship Id="rId29" Type="http://schemas.openxmlformats.org/officeDocument/2006/relationships/tags" Target="../tags/tag993.xml"/><Relationship Id="rId11" Type="http://schemas.openxmlformats.org/officeDocument/2006/relationships/tags" Target="../tags/tag975.xml"/><Relationship Id="rId24" Type="http://schemas.openxmlformats.org/officeDocument/2006/relationships/tags" Target="../tags/tag988.xml"/><Relationship Id="rId32" Type="http://schemas.openxmlformats.org/officeDocument/2006/relationships/tags" Target="../tags/tag996.xml"/><Relationship Id="rId37" Type="http://schemas.openxmlformats.org/officeDocument/2006/relationships/tags" Target="../tags/tag1001.xml"/><Relationship Id="rId40" Type="http://schemas.openxmlformats.org/officeDocument/2006/relationships/tags" Target="../tags/tag1004.xml"/><Relationship Id="rId45" Type="http://schemas.openxmlformats.org/officeDocument/2006/relationships/tags" Target="../tags/tag1009.xml"/><Relationship Id="rId53" Type="http://schemas.openxmlformats.org/officeDocument/2006/relationships/tags" Target="../tags/tag1017.xml"/><Relationship Id="rId58" Type="http://schemas.openxmlformats.org/officeDocument/2006/relationships/tags" Target="../tags/tag1022.xml"/><Relationship Id="rId66" Type="http://schemas.openxmlformats.org/officeDocument/2006/relationships/image" Target="../media/image1.emf"/><Relationship Id="rId5" Type="http://schemas.openxmlformats.org/officeDocument/2006/relationships/tags" Target="../tags/tag969.xml"/><Relationship Id="rId61" Type="http://schemas.openxmlformats.org/officeDocument/2006/relationships/tags" Target="../tags/tag1025.xml"/><Relationship Id="rId19" Type="http://schemas.openxmlformats.org/officeDocument/2006/relationships/tags" Target="../tags/tag983.xml"/><Relationship Id="rId14" Type="http://schemas.openxmlformats.org/officeDocument/2006/relationships/tags" Target="../tags/tag978.xml"/><Relationship Id="rId22" Type="http://schemas.openxmlformats.org/officeDocument/2006/relationships/tags" Target="../tags/tag986.xml"/><Relationship Id="rId27" Type="http://schemas.openxmlformats.org/officeDocument/2006/relationships/tags" Target="../tags/tag991.xml"/><Relationship Id="rId30" Type="http://schemas.openxmlformats.org/officeDocument/2006/relationships/tags" Target="../tags/tag994.xml"/><Relationship Id="rId35" Type="http://schemas.openxmlformats.org/officeDocument/2006/relationships/tags" Target="../tags/tag999.xml"/><Relationship Id="rId43" Type="http://schemas.openxmlformats.org/officeDocument/2006/relationships/tags" Target="../tags/tag1007.xml"/><Relationship Id="rId48" Type="http://schemas.openxmlformats.org/officeDocument/2006/relationships/tags" Target="../tags/tag1012.xml"/><Relationship Id="rId56" Type="http://schemas.openxmlformats.org/officeDocument/2006/relationships/tags" Target="../tags/tag1020.xml"/><Relationship Id="rId64" Type="http://schemas.openxmlformats.org/officeDocument/2006/relationships/notesSlide" Target="../notesSlides/notesSlide15.xml"/><Relationship Id="rId8" Type="http://schemas.openxmlformats.org/officeDocument/2006/relationships/tags" Target="../tags/tag972.xml"/><Relationship Id="rId51" Type="http://schemas.openxmlformats.org/officeDocument/2006/relationships/tags" Target="../tags/tag1015.xml"/><Relationship Id="rId3" Type="http://schemas.openxmlformats.org/officeDocument/2006/relationships/tags" Target="../tags/tag967.xml"/><Relationship Id="rId12" Type="http://schemas.openxmlformats.org/officeDocument/2006/relationships/tags" Target="../tags/tag976.xml"/><Relationship Id="rId17" Type="http://schemas.openxmlformats.org/officeDocument/2006/relationships/tags" Target="../tags/tag981.xml"/><Relationship Id="rId25" Type="http://schemas.openxmlformats.org/officeDocument/2006/relationships/tags" Target="../tags/tag989.xml"/><Relationship Id="rId33" Type="http://schemas.openxmlformats.org/officeDocument/2006/relationships/tags" Target="../tags/tag997.xml"/><Relationship Id="rId38" Type="http://schemas.openxmlformats.org/officeDocument/2006/relationships/tags" Target="../tags/tag1002.xml"/><Relationship Id="rId46" Type="http://schemas.openxmlformats.org/officeDocument/2006/relationships/tags" Target="../tags/tag1010.xml"/><Relationship Id="rId59" Type="http://schemas.openxmlformats.org/officeDocument/2006/relationships/tags" Target="../tags/tag1023.xml"/><Relationship Id="rId67" Type="http://schemas.openxmlformats.org/officeDocument/2006/relationships/chart" Target="../charts/chart15.xml"/><Relationship Id="rId20" Type="http://schemas.openxmlformats.org/officeDocument/2006/relationships/tags" Target="../tags/tag984.xml"/><Relationship Id="rId41" Type="http://schemas.openxmlformats.org/officeDocument/2006/relationships/tags" Target="../tags/tag1005.xml"/><Relationship Id="rId54" Type="http://schemas.openxmlformats.org/officeDocument/2006/relationships/tags" Target="../tags/tag1018.xml"/><Relationship Id="rId62" Type="http://schemas.openxmlformats.org/officeDocument/2006/relationships/tags" Target="../tags/tag1026.xml"/><Relationship Id="rId1" Type="http://schemas.openxmlformats.org/officeDocument/2006/relationships/tags" Target="../tags/tag965.xml"/><Relationship Id="rId6" Type="http://schemas.openxmlformats.org/officeDocument/2006/relationships/tags" Target="../tags/tag970.xml"/><Relationship Id="rId15" Type="http://schemas.openxmlformats.org/officeDocument/2006/relationships/tags" Target="../tags/tag979.xml"/><Relationship Id="rId23" Type="http://schemas.openxmlformats.org/officeDocument/2006/relationships/tags" Target="../tags/tag987.xml"/><Relationship Id="rId28" Type="http://schemas.openxmlformats.org/officeDocument/2006/relationships/tags" Target="../tags/tag992.xml"/><Relationship Id="rId36" Type="http://schemas.openxmlformats.org/officeDocument/2006/relationships/tags" Target="../tags/tag1000.xml"/><Relationship Id="rId49" Type="http://schemas.openxmlformats.org/officeDocument/2006/relationships/tags" Target="../tags/tag1013.xml"/><Relationship Id="rId57" Type="http://schemas.openxmlformats.org/officeDocument/2006/relationships/tags" Target="../tags/tag1021.xml"/><Relationship Id="rId10" Type="http://schemas.openxmlformats.org/officeDocument/2006/relationships/tags" Target="../tags/tag974.xml"/><Relationship Id="rId31" Type="http://schemas.openxmlformats.org/officeDocument/2006/relationships/tags" Target="../tags/tag995.xml"/><Relationship Id="rId44" Type="http://schemas.openxmlformats.org/officeDocument/2006/relationships/tags" Target="../tags/tag1008.xml"/><Relationship Id="rId52" Type="http://schemas.openxmlformats.org/officeDocument/2006/relationships/tags" Target="../tags/tag1016.xml"/><Relationship Id="rId60" Type="http://schemas.openxmlformats.org/officeDocument/2006/relationships/tags" Target="../tags/tag1024.xml"/><Relationship Id="rId65" Type="http://schemas.openxmlformats.org/officeDocument/2006/relationships/oleObject" Target="../embeddings/oleObject18.bin"/><Relationship Id="rId4" Type="http://schemas.openxmlformats.org/officeDocument/2006/relationships/tags" Target="../tags/tag968.xml"/><Relationship Id="rId9" Type="http://schemas.openxmlformats.org/officeDocument/2006/relationships/tags" Target="../tags/tag973.xml"/><Relationship Id="rId13" Type="http://schemas.openxmlformats.org/officeDocument/2006/relationships/tags" Target="../tags/tag977.xml"/><Relationship Id="rId18" Type="http://schemas.openxmlformats.org/officeDocument/2006/relationships/tags" Target="../tags/tag982.xml"/><Relationship Id="rId39" Type="http://schemas.openxmlformats.org/officeDocument/2006/relationships/tags" Target="../tags/tag1003.xml"/></Relationships>
</file>

<file path=ppt/slides/_rels/slide18.xml.rels><?xml version="1.0" encoding="UTF-8" standalone="yes"?>
<Relationships xmlns="http://schemas.openxmlformats.org/package/2006/relationships"><Relationship Id="rId26" Type="http://schemas.openxmlformats.org/officeDocument/2006/relationships/tags" Target="../tags/tag1052.xml"/><Relationship Id="rId117" Type="http://schemas.openxmlformats.org/officeDocument/2006/relationships/tags" Target="../tags/tag1143.xml"/><Relationship Id="rId21" Type="http://schemas.openxmlformats.org/officeDocument/2006/relationships/tags" Target="../tags/tag1047.xml"/><Relationship Id="rId42" Type="http://schemas.openxmlformats.org/officeDocument/2006/relationships/tags" Target="../tags/tag1068.xml"/><Relationship Id="rId47" Type="http://schemas.openxmlformats.org/officeDocument/2006/relationships/tags" Target="../tags/tag1073.xml"/><Relationship Id="rId63" Type="http://schemas.openxmlformats.org/officeDocument/2006/relationships/tags" Target="../tags/tag1089.xml"/><Relationship Id="rId68" Type="http://schemas.openxmlformats.org/officeDocument/2006/relationships/tags" Target="../tags/tag1094.xml"/><Relationship Id="rId84" Type="http://schemas.openxmlformats.org/officeDocument/2006/relationships/tags" Target="../tags/tag1110.xml"/><Relationship Id="rId89" Type="http://schemas.openxmlformats.org/officeDocument/2006/relationships/tags" Target="../tags/tag1115.xml"/><Relationship Id="rId112" Type="http://schemas.openxmlformats.org/officeDocument/2006/relationships/tags" Target="../tags/tag1138.xml"/><Relationship Id="rId16" Type="http://schemas.openxmlformats.org/officeDocument/2006/relationships/tags" Target="../tags/tag1042.xml"/><Relationship Id="rId107" Type="http://schemas.openxmlformats.org/officeDocument/2006/relationships/tags" Target="../tags/tag1133.xml"/><Relationship Id="rId11" Type="http://schemas.openxmlformats.org/officeDocument/2006/relationships/tags" Target="../tags/tag1037.xml"/><Relationship Id="rId32" Type="http://schemas.openxmlformats.org/officeDocument/2006/relationships/tags" Target="../tags/tag1058.xml"/><Relationship Id="rId37" Type="http://schemas.openxmlformats.org/officeDocument/2006/relationships/tags" Target="../tags/tag1063.xml"/><Relationship Id="rId53" Type="http://schemas.openxmlformats.org/officeDocument/2006/relationships/tags" Target="../tags/tag1079.xml"/><Relationship Id="rId58" Type="http://schemas.openxmlformats.org/officeDocument/2006/relationships/tags" Target="../tags/tag1084.xml"/><Relationship Id="rId74" Type="http://schemas.openxmlformats.org/officeDocument/2006/relationships/tags" Target="../tags/tag1100.xml"/><Relationship Id="rId79" Type="http://schemas.openxmlformats.org/officeDocument/2006/relationships/tags" Target="../tags/tag1105.xml"/><Relationship Id="rId102" Type="http://schemas.openxmlformats.org/officeDocument/2006/relationships/tags" Target="../tags/tag1128.xml"/><Relationship Id="rId123" Type="http://schemas.openxmlformats.org/officeDocument/2006/relationships/tags" Target="../tags/tag1149.xml"/><Relationship Id="rId128" Type="http://schemas.openxmlformats.org/officeDocument/2006/relationships/chart" Target="../charts/chart16.xml"/><Relationship Id="rId5" Type="http://schemas.openxmlformats.org/officeDocument/2006/relationships/tags" Target="../tags/tag1031.xml"/><Relationship Id="rId90" Type="http://schemas.openxmlformats.org/officeDocument/2006/relationships/tags" Target="../tags/tag1116.xml"/><Relationship Id="rId95" Type="http://schemas.openxmlformats.org/officeDocument/2006/relationships/tags" Target="../tags/tag1121.xml"/><Relationship Id="rId22" Type="http://schemas.openxmlformats.org/officeDocument/2006/relationships/tags" Target="../tags/tag1048.xml"/><Relationship Id="rId27" Type="http://schemas.openxmlformats.org/officeDocument/2006/relationships/tags" Target="../tags/tag1053.xml"/><Relationship Id="rId43" Type="http://schemas.openxmlformats.org/officeDocument/2006/relationships/tags" Target="../tags/tag1069.xml"/><Relationship Id="rId48" Type="http://schemas.openxmlformats.org/officeDocument/2006/relationships/tags" Target="../tags/tag1074.xml"/><Relationship Id="rId64" Type="http://schemas.openxmlformats.org/officeDocument/2006/relationships/tags" Target="../tags/tag1090.xml"/><Relationship Id="rId69" Type="http://schemas.openxmlformats.org/officeDocument/2006/relationships/tags" Target="../tags/tag1095.xml"/><Relationship Id="rId113" Type="http://schemas.openxmlformats.org/officeDocument/2006/relationships/tags" Target="../tags/tag1139.xml"/><Relationship Id="rId118" Type="http://schemas.openxmlformats.org/officeDocument/2006/relationships/tags" Target="../tags/tag1144.xml"/><Relationship Id="rId80" Type="http://schemas.openxmlformats.org/officeDocument/2006/relationships/tags" Target="../tags/tag1106.xml"/><Relationship Id="rId85" Type="http://schemas.openxmlformats.org/officeDocument/2006/relationships/tags" Target="../tags/tag1111.xml"/><Relationship Id="rId12" Type="http://schemas.openxmlformats.org/officeDocument/2006/relationships/tags" Target="../tags/tag1038.xml"/><Relationship Id="rId17" Type="http://schemas.openxmlformats.org/officeDocument/2006/relationships/tags" Target="../tags/tag1043.xml"/><Relationship Id="rId33" Type="http://schemas.openxmlformats.org/officeDocument/2006/relationships/tags" Target="../tags/tag1059.xml"/><Relationship Id="rId38" Type="http://schemas.openxmlformats.org/officeDocument/2006/relationships/tags" Target="../tags/tag1064.xml"/><Relationship Id="rId59" Type="http://schemas.openxmlformats.org/officeDocument/2006/relationships/tags" Target="../tags/tag1085.xml"/><Relationship Id="rId103" Type="http://schemas.openxmlformats.org/officeDocument/2006/relationships/tags" Target="../tags/tag1129.xml"/><Relationship Id="rId108" Type="http://schemas.openxmlformats.org/officeDocument/2006/relationships/tags" Target="../tags/tag1134.xml"/><Relationship Id="rId124" Type="http://schemas.openxmlformats.org/officeDocument/2006/relationships/slideLayout" Target="../slideLayouts/slideLayout2.xml"/><Relationship Id="rId54" Type="http://schemas.openxmlformats.org/officeDocument/2006/relationships/tags" Target="../tags/tag1080.xml"/><Relationship Id="rId70" Type="http://schemas.openxmlformats.org/officeDocument/2006/relationships/tags" Target="../tags/tag1096.xml"/><Relationship Id="rId75" Type="http://schemas.openxmlformats.org/officeDocument/2006/relationships/tags" Target="../tags/tag1101.xml"/><Relationship Id="rId91" Type="http://schemas.openxmlformats.org/officeDocument/2006/relationships/tags" Target="../tags/tag1117.xml"/><Relationship Id="rId96" Type="http://schemas.openxmlformats.org/officeDocument/2006/relationships/tags" Target="../tags/tag1122.xml"/><Relationship Id="rId1" Type="http://schemas.openxmlformats.org/officeDocument/2006/relationships/tags" Target="../tags/tag1027.xml"/><Relationship Id="rId6" Type="http://schemas.openxmlformats.org/officeDocument/2006/relationships/tags" Target="../tags/tag1032.xml"/><Relationship Id="rId23" Type="http://schemas.openxmlformats.org/officeDocument/2006/relationships/tags" Target="../tags/tag1049.xml"/><Relationship Id="rId28" Type="http://schemas.openxmlformats.org/officeDocument/2006/relationships/tags" Target="../tags/tag1054.xml"/><Relationship Id="rId49" Type="http://schemas.openxmlformats.org/officeDocument/2006/relationships/tags" Target="../tags/tag1075.xml"/><Relationship Id="rId114" Type="http://schemas.openxmlformats.org/officeDocument/2006/relationships/tags" Target="../tags/tag1140.xml"/><Relationship Id="rId119" Type="http://schemas.openxmlformats.org/officeDocument/2006/relationships/tags" Target="../tags/tag1145.xml"/><Relationship Id="rId44" Type="http://schemas.openxmlformats.org/officeDocument/2006/relationships/tags" Target="../tags/tag1070.xml"/><Relationship Id="rId60" Type="http://schemas.openxmlformats.org/officeDocument/2006/relationships/tags" Target="../tags/tag1086.xml"/><Relationship Id="rId65" Type="http://schemas.openxmlformats.org/officeDocument/2006/relationships/tags" Target="../tags/tag1091.xml"/><Relationship Id="rId81" Type="http://schemas.openxmlformats.org/officeDocument/2006/relationships/tags" Target="../tags/tag1107.xml"/><Relationship Id="rId86" Type="http://schemas.openxmlformats.org/officeDocument/2006/relationships/tags" Target="../tags/tag1112.xml"/><Relationship Id="rId13" Type="http://schemas.openxmlformats.org/officeDocument/2006/relationships/tags" Target="../tags/tag1039.xml"/><Relationship Id="rId18" Type="http://schemas.openxmlformats.org/officeDocument/2006/relationships/tags" Target="../tags/tag1044.xml"/><Relationship Id="rId39" Type="http://schemas.openxmlformats.org/officeDocument/2006/relationships/tags" Target="../tags/tag1065.xml"/><Relationship Id="rId109" Type="http://schemas.openxmlformats.org/officeDocument/2006/relationships/tags" Target="../tags/tag1135.xml"/><Relationship Id="rId34" Type="http://schemas.openxmlformats.org/officeDocument/2006/relationships/tags" Target="../tags/tag1060.xml"/><Relationship Id="rId50" Type="http://schemas.openxmlformats.org/officeDocument/2006/relationships/tags" Target="../tags/tag1076.xml"/><Relationship Id="rId55" Type="http://schemas.openxmlformats.org/officeDocument/2006/relationships/tags" Target="../tags/tag1081.xml"/><Relationship Id="rId76" Type="http://schemas.openxmlformats.org/officeDocument/2006/relationships/tags" Target="../tags/tag1102.xml"/><Relationship Id="rId97" Type="http://schemas.openxmlformats.org/officeDocument/2006/relationships/tags" Target="../tags/tag1123.xml"/><Relationship Id="rId104" Type="http://schemas.openxmlformats.org/officeDocument/2006/relationships/tags" Target="../tags/tag1130.xml"/><Relationship Id="rId120" Type="http://schemas.openxmlformats.org/officeDocument/2006/relationships/tags" Target="../tags/tag1146.xml"/><Relationship Id="rId125" Type="http://schemas.openxmlformats.org/officeDocument/2006/relationships/notesSlide" Target="../notesSlides/notesSlide16.xml"/><Relationship Id="rId7" Type="http://schemas.openxmlformats.org/officeDocument/2006/relationships/tags" Target="../tags/tag1033.xml"/><Relationship Id="rId71" Type="http://schemas.openxmlformats.org/officeDocument/2006/relationships/tags" Target="../tags/tag1097.xml"/><Relationship Id="rId92" Type="http://schemas.openxmlformats.org/officeDocument/2006/relationships/tags" Target="../tags/tag1118.xml"/><Relationship Id="rId2" Type="http://schemas.openxmlformats.org/officeDocument/2006/relationships/tags" Target="../tags/tag1028.xml"/><Relationship Id="rId29" Type="http://schemas.openxmlformats.org/officeDocument/2006/relationships/tags" Target="../tags/tag1055.xml"/><Relationship Id="rId24" Type="http://schemas.openxmlformats.org/officeDocument/2006/relationships/tags" Target="../tags/tag1050.xml"/><Relationship Id="rId40" Type="http://schemas.openxmlformats.org/officeDocument/2006/relationships/tags" Target="../tags/tag1066.xml"/><Relationship Id="rId45" Type="http://schemas.openxmlformats.org/officeDocument/2006/relationships/tags" Target="../tags/tag1071.xml"/><Relationship Id="rId66" Type="http://schemas.openxmlformats.org/officeDocument/2006/relationships/tags" Target="../tags/tag1092.xml"/><Relationship Id="rId87" Type="http://schemas.openxmlformats.org/officeDocument/2006/relationships/tags" Target="../tags/tag1113.xml"/><Relationship Id="rId110" Type="http://schemas.openxmlformats.org/officeDocument/2006/relationships/tags" Target="../tags/tag1136.xml"/><Relationship Id="rId115" Type="http://schemas.openxmlformats.org/officeDocument/2006/relationships/tags" Target="../tags/tag1141.xml"/><Relationship Id="rId61" Type="http://schemas.openxmlformats.org/officeDocument/2006/relationships/tags" Target="../tags/tag1087.xml"/><Relationship Id="rId82" Type="http://schemas.openxmlformats.org/officeDocument/2006/relationships/tags" Target="../tags/tag1108.xml"/><Relationship Id="rId19" Type="http://schemas.openxmlformats.org/officeDocument/2006/relationships/tags" Target="../tags/tag1045.xml"/><Relationship Id="rId14" Type="http://schemas.openxmlformats.org/officeDocument/2006/relationships/tags" Target="../tags/tag1040.xml"/><Relationship Id="rId30" Type="http://schemas.openxmlformats.org/officeDocument/2006/relationships/tags" Target="../tags/tag1056.xml"/><Relationship Id="rId35" Type="http://schemas.openxmlformats.org/officeDocument/2006/relationships/tags" Target="../tags/tag1061.xml"/><Relationship Id="rId56" Type="http://schemas.openxmlformats.org/officeDocument/2006/relationships/tags" Target="../tags/tag1082.xml"/><Relationship Id="rId77" Type="http://schemas.openxmlformats.org/officeDocument/2006/relationships/tags" Target="../tags/tag1103.xml"/><Relationship Id="rId100" Type="http://schemas.openxmlformats.org/officeDocument/2006/relationships/tags" Target="../tags/tag1126.xml"/><Relationship Id="rId105" Type="http://schemas.openxmlformats.org/officeDocument/2006/relationships/tags" Target="../tags/tag1131.xml"/><Relationship Id="rId126" Type="http://schemas.openxmlformats.org/officeDocument/2006/relationships/oleObject" Target="../embeddings/oleObject19.bin"/><Relationship Id="rId8" Type="http://schemas.openxmlformats.org/officeDocument/2006/relationships/tags" Target="../tags/tag1034.xml"/><Relationship Id="rId51" Type="http://schemas.openxmlformats.org/officeDocument/2006/relationships/tags" Target="../tags/tag1077.xml"/><Relationship Id="rId72" Type="http://schemas.openxmlformats.org/officeDocument/2006/relationships/tags" Target="../tags/tag1098.xml"/><Relationship Id="rId93" Type="http://schemas.openxmlformats.org/officeDocument/2006/relationships/tags" Target="../tags/tag1119.xml"/><Relationship Id="rId98" Type="http://schemas.openxmlformats.org/officeDocument/2006/relationships/tags" Target="../tags/tag1124.xml"/><Relationship Id="rId121" Type="http://schemas.openxmlformats.org/officeDocument/2006/relationships/tags" Target="../tags/tag1147.xml"/><Relationship Id="rId3" Type="http://schemas.openxmlformats.org/officeDocument/2006/relationships/tags" Target="../tags/tag1029.xml"/><Relationship Id="rId25" Type="http://schemas.openxmlformats.org/officeDocument/2006/relationships/tags" Target="../tags/tag1051.xml"/><Relationship Id="rId46" Type="http://schemas.openxmlformats.org/officeDocument/2006/relationships/tags" Target="../tags/tag1072.xml"/><Relationship Id="rId67" Type="http://schemas.openxmlformats.org/officeDocument/2006/relationships/tags" Target="../tags/tag1093.xml"/><Relationship Id="rId116" Type="http://schemas.openxmlformats.org/officeDocument/2006/relationships/tags" Target="../tags/tag1142.xml"/><Relationship Id="rId20" Type="http://schemas.openxmlformats.org/officeDocument/2006/relationships/tags" Target="../tags/tag1046.xml"/><Relationship Id="rId41" Type="http://schemas.openxmlformats.org/officeDocument/2006/relationships/tags" Target="../tags/tag1067.xml"/><Relationship Id="rId62" Type="http://schemas.openxmlformats.org/officeDocument/2006/relationships/tags" Target="../tags/tag1088.xml"/><Relationship Id="rId83" Type="http://schemas.openxmlformats.org/officeDocument/2006/relationships/tags" Target="../tags/tag1109.xml"/><Relationship Id="rId88" Type="http://schemas.openxmlformats.org/officeDocument/2006/relationships/tags" Target="../tags/tag1114.xml"/><Relationship Id="rId111" Type="http://schemas.openxmlformats.org/officeDocument/2006/relationships/tags" Target="../tags/tag1137.xml"/><Relationship Id="rId15" Type="http://schemas.openxmlformats.org/officeDocument/2006/relationships/tags" Target="../tags/tag1041.xml"/><Relationship Id="rId36" Type="http://schemas.openxmlformats.org/officeDocument/2006/relationships/tags" Target="../tags/tag1062.xml"/><Relationship Id="rId57" Type="http://schemas.openxmlformats.org/officeDocument/2006/relationships/tags" Target="../tags/tag1083.xml"/><Relationship Id="rId106" Type="http://schemas.openxmlformats.org/officeDocument/2006/relationships/tags" Target="../tags/tag1132.xml"/><Relationship Id="rId127" Type="http://schemas.openxmlformats.org/officeDocument/2006/relationships/image" Target="../media/image1.emf"/><Relationship Id="rId10" Type="http://schemas.openxmlformats.org/officeDocument/2006/relationships/tags" Target="../tags/tag1036.xml"/><Relationship Id="rId31" Type="http://schemas.openxmlformats.org/officeDocument/2006/relationships/tags" Target="../tags/tag1057.xml"/><Relationship Id="rId52" Type="http://schemas.openxmlformats.org/officeDocument/2006/relationships/tags" Target="../tags/tag1078.xml"/><Relationship Id="rId73" Type="http://schemas.openxmlformats.org/officeDocument/2006/relationships/tags" Target="../tags/tag1099.xml"/><Relationship Id="rId78" Type="http://schemas.openxmlformats.org/officeDocument/2006/relationships/tags" Target="../tags/tag1104.xml"/><Relationship Id="rId94" Type="http://schemas.openxmlformats.org/officeDocument/2006/relationships/tags" Target="../tags/tag1120.xml"/><Relationship Id="rId99" Type="http://schemas.openxmlformats.org/officeDocument/2006/relationships/tags" Target="../tags/tag1125.xml"/><Relationship Id="rId101" Type="http://schemas.openxmlformats.org/officeDocument/2006/relationships/tags" Target="../tags/tag1127.xml"/><Relationship Id="rId122" Type="http://schemas.openxmlformats.org/officeDocument/2006/relationships/tags" Target="../tags/tag1148.xml"/><Relationship Id="rId4" Type="http://schemas.openxmlformats.org/officeDocument/2006/relationships/tags" Target="../tags/tag1030.xml"/><Relationship Id="rId9" Type="http://schemas.openxmlformats.org/officeDocument/2006/relationships/tags" Target="../tags/tag1035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1162.xml"/><Relationship Id="rId18" Type="http://schemas.openxmlformats.org/officeDocument/2006/relationships/tags" Target="../tags/tag1167.xml"/><Relationship Id="rId26" Type="http://schemas.openxmlformats.org/officeDocument/2006/relationships/tags" Target="../tags/tag1175.xml"/><Relationship Id="rId39" Type="http://schemas.openxmlformats.org/officeDocument/2006/relationships/tags" Target="../tags/tag1188.xml"/><Relationship Id="rId21" Type="http://schemas.openxmlformats.org/officeDocument/2006/relationships/tags" Target="../tags/tag1170.xml"/><Relationship Id="rId34" Type="http://schemas.openxmlformats.org/officeDocument/2006/relationships/tags" Target="../tags/tag1183.xml"/><Relationship Id="rId42" Type="http://schemas.openxmlformats.org/officeDocument/2006/relationships/tags" Target="../tags/tag1191.xml"/><Relationship Id="rId47" Type="http://schemas.openxmlformats.org/officeDocument/2006/relationships/tags" Target="../tags/tag1196.xml"/><Relationship Id="rId50" Type="http://schemas.openxmlformats.org/officeDocument/2006/relationships/tags" Target="../tags/tag1199.xml"/><Relationship Id="rId55" Type="http://schemas.openxmlformats.org/officeDocument/2006/relationships/tags" Target="../tags/tag1204.xml"/><Relationship Id="rId7" Type="http://schemas.openxmlformats.org/officeDocument/2006/relationships/tags" Target="../tags/tag1156.xml"/><Relationship Id="rId2" Type="http://schemas.openxmlformats.org/officeDocument/2006/relationships/tags" Target="../tags/tag1151.xml"/><Relationship Id="rId16" Type="http://schemas.openxmlformats.org/officeDocument/2006/relationships/tags" Target="../tags/tag1165.xml"/><Relationship Id="rId29" Type="http://schemas.openxmlformats.org/officeDocument/2006/relationships/tags" Target="../tags/tag1178.xml"/><Relationship Id="rId11" Type="http://schemas.openxmlformats.org/officeDocument/2006/relationships/tags" Target="../tags/tag1160.xml"/><Relationship Id="rId24" Type="http://schemas.openxmlformats.org/officeDocument/2006/relationships/tags" Target="../tags/tag1173.xml"/><Relationship Id="rId32" Type="http://schemas.openxmlformats.org/officeDocument/2006/relationships/tags" Target="../tags/tag1181.xml"/><Relationship Id="rId37" Type="http://schemas.openxmlformats.org/officeDocument/2006/relationships/tags" Target="../tags/tag1186.xml"/><Relationship Id="rId40" Type="http://schemas.openxmlformats.org/officeDocument/2006/relationships/tags" Target="../tags/tag1189.xml"/><Relationship Id="rId45" Type="http://schemas.openxmlformats.org/officeDocument/2006/relationships/tags" Target="../tags/tag1194.xml"/><Relationship Id="rId53" Type="http://schemas.openxmlformats.org/officeDocument/2006/relationships/tags" Target="../tags/tag1202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1154.xml"/><Relationship Id="rId61" Type="http://schemas.openxmlformats.org/officeDocument/2006/relationships/image" Target="../media/image1.emf"/><Relationship Id="rId19" Type="http://schemas.openxmlformats.org/officeDocument/2006/relationships/tags" Target="../tags/tag1168.xml"/><Relationship Id="rId14" Type="http://schemas.openxmlformats.org/officeDocument/2006/relationships/tags" Target="../tags/tag1163.xml"/><Relationship Id="rId22" Type="http://schemas.openxmlformats.org/officeDocument/2006/relationships/tags" Target="../tags/tag1171.xml"/><Relationship Id="rId27" Type="http://schemas.openxmlformats.org/officeDocument/2006/relationships/tags" Target="../tags/tag1176.xml"/><Relationship Id="rId30" Type="http://schemas.openxmlformats.org/officeDocument/2006/relationships/tags" Target="../tags/tag1179.xml"/><Relationship Id="rId35" Type="http://schemas.openxmlformats.org/officeDocument/2006/relationships/tags" Target="../tags/tag1184.xml"/><Relationship Id="rId43" Type="http://schemas.openxmlformats.org/officeDocument/2006/relationships/tags" Target="../tags/tag1192.xml"/><Relationship Id="rId48" Type="http://schemas.openxmlformats.org/officeDocument/2006/relationships/tags" Target="../tags/tag1197.xml"/><Relationship Id="rId56" Type="http://schemas.openxmlformats.org/officeDocument/2006/relationships/tags" Target="../tags/tag1205.xml"/><Relationship Id="rId8" Type="http://schemas.openxmlformats.org/officeDocument/2006/relationships/tags" Target="../tags/tag1157.xml"/><Relationship Id="rId51" Type="http://schemas.openxmlformats.org/officeDocument/2006/relationships/tags" Target="../tags/tag1200.xml"/><Relationship Id="rId3" Type="http://schemas.openxmlformats.org/officeDocument/2006/relationships/tags" Target="../tags/tag1152.xml"/><Relationship Id="rId12" Type="http://schemas.openxmlformats.org/officeDocument/2006/relationships/tags" Target="../tags/tag1161.xml"/><Relationship Id="rId17" Type="http://schemas.openxmlformats.org/officeDocument/2006/relationships/tags" Target="../tags/tag1166.xml"/><Relationship Id="rId25" Type="http://schemas.openxmlformats.org/officeDocument/2006/relationships/tags" Target="../tags/tag1174.xml"/><Relationship Id="rId33" Type="http://schemas.openxmlformats.org/officeDocument/2006/relationships/tags" Target="../tags/tag1182.xml"/><Relationship Id="rId38" Type="http://schemas.openxmlformats.org/officeDocument/2006/relationships/tags" Target="../tags/tag1187.xml"/><Relationship Id="rId46" Type="http://schemas.openxmlformats.org/officeDocument/2006/relationships/tags" Target="../tags/tag1195.xml"/><Relationship Id="rId59" Type="http://schemas.openxmlformats.org/officeDocument/2006/relationships/notesSlide" Target="../notesSlides/notesSlide17.xml"/><Relationship Id="rId20" Type="http://schemas.openxmlformats.org/officeDocument/2006/relationships/tags" Target="../tags/tag1169.xml"/><Relationship Id="rId41" Type="http://schemas.openxmlformats.org/officeDocument/2006/relationships/tags" Target="../tags/tag1190.xml"/><Relationship Id="rId54" Type="http://schemas.openxmlformats.org/officeDocument/2006/relationships/tags" Target="../tags/tag1203.xml"/><Relationship Id="rId62" Type="http://schemas.openxmlformats.org/officeDocument/2006/relationships/chart" Target="../charts/chart17.xml"/><Relationship Id="rId1" Type="http://schemas.openxmlformats.org/officeDocument/2006/relationships/tags" Target="../tags/tag1150.xml"/><Relationship Id="rId6" Type="http://schemas.openxmlformats.org/officeDocument/2006/relationships/tags" Target="../tags/tag1155.xml"/><Relationship Id="rId15" Type="http://schemas.openxmlformats.org/officeDocument/2006/relationships/tags" Target="../tags/tag1164.xml"/><Relationship Id="rId23" Type="http://schemas.openxmlformats.org/officeDocument/2006/relationships/tags" Target="../tags/tag1172.xml"/><Relationship Id="rId28" Type="http://schemas.openxmlformats.org/officeDocument/2006/relationships/tags" Target="../tags/tag1177.xml"/><Relationship Id="rId36" Type="http://schemas.openxmlformats.org/officeDocument/2006/relationships/tags" Target="../tags/tag1185.xml"/><Relationship Id="rId49" Type="http://schemas.openxmlformats.org/officeDocument/2006/relationships/tags" Target="../tags/tag1198.xml"/><Relationship Id="rId57" Type="http://schemas.openxmlformats.org/officeDocument/2006/relationships/tags" Target="../tags/tag1206.xml"/><Relationship Id="rId10" Type="http://schemas.openxmlformats.org/officeDocument/2006/relationships/tags" Target="../tags/tag1159.xml"/><Relationship Id="rId31" Type="http://schemas.openxmlformats.org/officeDocument/2006/relationships/tags" Target="../tags/tag1180.xml"/><Relationship Id="rId44" Type="http://schemas.openxmlformats.org/officeDocument/2006/relationships/tags" Target="../tags/tag1193.xml"/><Relationship Id="rId52" Type="http://schemas.openxmlformats.org/officeDocument/2006/relationships/tags" Target="../tags/tag1201.xml"/><Relationship Id="rId60" Type="http://schemas.openxmlformats.org/officeDocument/2006/relationships/oleObject" Target="../embeddings/oleObject20.bin"/><Relationship Id="rId4" Type="http://schemas.openxmlformats.org/officeDocument/2006/relationships/tags" Target="../tags/tag1153.xml"/><Relationship Id="rId9" Type="http://schemas.openxmlformats.org/officeDocument/2006/relationships/tags" Target="../tags/tag115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10" Type="http://schemas.openxmlformats.org/officeDocument/2006/relationships/image" Target="../media/image1.emf"/><Relationship Id="rId4" Type="http://schemas.openxmlformats.org/officeDocument/2006/relationships/tags" Target="../tags/tag8.xml"/><Relationship Id="rId9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tags" Target="../tags/tag1232.xml"/><Relationship Id="rId21" Type="http://schemas.openxmlformats.org/officeDocument/2006/relationships/tags" Target="../tags/tag1227.xml"/><Relationship Id="rId42" Type="http://schemas.openxmlformats.org/officeDocument/2006/relationships/tags" Target="../tags/tag1248.xml"/><Relationship Id="rId47" Type="http://schemas.openxmlformats.org/officeDocument/2006/relationships/tags" Target="../tags/tag1253.xml"/><Relationship Id="rId63" Type="http://schemas.openxmlformats.org/officeDocument/2006/relationships/tags" Target="../tags/tag1269.xml"/><Relationship Id="rId68" Type="http://schemas.openxmlformats.org/officeDocument/2006/relationships/tags" Target="../tags/tag1274.xml"/><Relationship Id="rId84" Type="http://schemas.openxmlformats.org/officeDocument/2006/relationships/tags" Target="../tags/tag1290.xml"/><Relationship Id="rId89" Type="http://schemas.openxmlformats.org/officeDocument/2006/relationships/image" Target="../media/image1.emf"/><Relationship Id="rId16" Type="http://schemas.openxmlformats.org/officeDocument/2006/relationships/tags" Target="../tags/tag1222.xml"/><Relationship Id="rId11" Type="http://schemas.openxmlformats.org/officeDocument/2006/relationships/tags" Target="../tags/tag1217.xml"/><Relationship Id="rId32" Type="http://schemas.openxmlformats.org/officeDocument/2006/relationships/tags" Target="../tags/tag1238.xml"/><Relationship Id="rId37" Type="http://schemas.openxmlformats.org/officeDocument/2006/relationships/tags" Target="../tags/tag1243.xml"/><Relationship Id="rId53" Type="http://schemas.openxmlformats.org/officeDocument/2006/relationships/tags" Target="../tags/tag1259.xml"/><Relationship Id="rId58" Type="http://schemas.openxmlformats.org/officeDocument/2006/relationships/tags" Target="../tags/tag1264.xml"/><Relationship Id="rId74" Type="http://schemas.openxmlformats.org/officeDocument/2006/relationships/tags" Target="../tags/tag1280.xml"/><Relationship Id="rId79" Type="http://schemas.openxmlformats.org/officeDocument/2006/relationships/tags" Target="../tags/tag1285.xml"/><Relationship Id="rId5" Type="http://schemas.openxmlformats.org/officeDocument/2006/relationships/tags" Target="../tags/tag1211.xml"/><Relationship Id="rId90" Type="http://schemas.openxmlformats.org/officeDocument/2006/relationships/chart" Target="../charts/chart18.xml"/><Relationship Id="rId14" Type="http://schemas.openxmlformats.org/officeDocument/2006/relationships/tags" Target="../tags/tag1220.xml"/><Relationship Id="rId22" Type="http://schemas.openxmlformats.org/officeDocument/2006/relationships/tags" Target="../tags/tag1228.xml"/><Relationship Id="rId27" Type="http://schemas.openxmlformats.org/officeDocument/2006/relationships/tags" Target="../tags/tag1233.xml"/><Relationship Id="rId30" Type="http://schemas.openxmlformats.org/officeDocument/2006/relationships/tags" Target="../tags/tag1236.xml"/><Relationship Id="rId35" Type="http://schemas.openxmlformats.org/officeDocument/2006/relationships/tags" Target="../tags/tag1241.xml"/><Relationship Id="rId43" Type="http://schemas.openxmlformats.org/officeDocument/2006/relationships/tags" Target="../tags/tag1249.xml"/><Relationship Id="rId48" Type="http://schemas.openxmlformats.org/officeDocument/2006/relationships/tags" Target="../tags/tag1254.xml"/><Relationship Id="rId56" Type="http://schemas.openxmlformats.org/officeDocument/2006/relationships/tags" Target="../tags/tag1262.xml"/><Relationship Id="rId64" Type="http://schemas.openxmlformats.org/officeDocument/2006/relationships/tags" Target="../tags/tag1270.xml"/><Relationship Id="rId69" Type="http://schemas.openxmlformats.org/officeDocument/2006/relationships/tags" Target="../tags/tag1275.xml"/><Relationship Id="rId77" Type="http://schemas.openxmlformats.org/officeDocument/2006/relationships/tags" Target="../tags/tag1283.xml"/><Relationship Id="rId8" Type="http://schemas.openxmlformats.org/officeDocument/2006/relationships/tags" Target="../tags/tag1214.xml"/><Relationship Id="rId51" Type="http://schemas.openxmlformats.org/officeDocument/2006/relationships/tags" Target="../tags/tag1257.xml"/><Relationship Id="rId72" Type="http://schemas.openxmlformats.org/officeDocument/2006/relationships/tags" Target="../tags/tag1278.xml"/><Relationship Id="rId80" Type="http://schemas.openxmlformats.org/officeDocument/2006/relationships/tags" Target="../tags/tag1286.xml"/><Relationship Id="rId85" Type="http://schemas.openxmlformats.org/officeDocument/2006/relationships/tags" Target="../tags/tag1291.xml"/><Relationship Id="rId3" Type="http://schemas.openxmlformats.org/officeDocument/2006/relationships/tags" Target="../tags/tag1209.xml"/><Relationship Id="rId12" Type="http://schemas.openxmlformats.org/officeDocument/2006/relationships/tags" Target="../tags/tag1218.xml"/><Relationship Id="rId17" Type="http://schemas.openxmlformats.org/officeDocument/2006/relationships/tags" Target="../tags/tag1223.xml"/><Relationship Id="rId25" Type="http://schemas.openxmlformats.org/officeDocument/2006/relationships/tags" Target="../tags/tag1231.xml"/><Relationship Id="rId33" Type="http://schemas.openxmlformats.org/officeDocument/2006/relationships/tags" Target="../tags/tag1239.xml"/><Relationship Id="rId38" Type="http://schemas.openxmlformats.org/officeDocument/2006/relationships/tags" Target="../tags/tag1244.xml"/><Relationship Id="rId46" Type="http://schemas.openxmlformats.org/officeDocument/2006/relationships/tags" Target="../tags/tag1252.xml"/><Relationship Id="rId59" Type="http://schemas.openxmlformats.org/officeDocument/2006/relationships/tags" Target="../tags/tag1265.xml"/><Relationship Id="rId67" Type="http://schemas.openxmlformats.org/officeDocument/2006/relationships/tags" Target="../tags/tag1273.xml"/><Relationship Id="rId20" Type="http://schemas.openxmlformats.org/officeDocument/2006/relationships/tags" Target="../tags/tag1226.xml"/><Relationship Id="rId41" Type="http://schemas.openxmlformats.org/officeDocument/2006/relationships/tags" Target="../tags/tag1247.xml"/><Relationship Id="rId54" Type="http://schemas.openxmlformats.org/officeDocument/2006/relationships/tags" Target="../tags/tag1260.xml"/><Relationship Id="rId62" Type="http://schemas.openxmlformats.org/officeDocument/2006/relationships/tags" Target="../tags/tag1268.xml"/><Relationship Id="rId70" Type="http://schemas.openxmlformats.org/officeDocument/2006/relationships/tags" Target="../tags/tag1276.xml"/><Relationship Id="rId75" Type="http://schemas.openxmlformats.org/officeDocument/2006/relationships/tags" Target="../tags/tag1281.xml"/><Relationship Id="rId83" Type="http://schemas.openxmlformats.org/officeDocument/2006/relationships/tags" Target="../tags/tag1289.xml"/><Relationship Id="rId88" Type="http://schemas.openxmlformats.org/officeDocument/2006/relationships/oleObject" Target="../embeddings/oleObject21.bin"/><Relationship Id="rId1" Type="http://schemas.openxmlformats.org/officeDocument/2006/relationships/tags" Target="../tags/tag1207.xml"/><Relationship Id="rId6" Type="http://schemas.openxmlformats.org/officeDocument/2006/relationships/tags" Target="../tags/tag1212.xml"/><Relationship Id="rId15" Type="http://schemas.openxmlformats.org/officeDocument/2006/relationships/tags" Target="../tags/tag1221.xml"/><Relationship Id="rId23" Type="http://schemas.openxmlformats.org/officeDocument/2006/relationships/tags" Target="../tags/tag1229.xml"/><Relationship Id="rId28" Type="http://schemas.openxmlformats.org/officeDocument/2006/relationships/tags" Target="../tags/tag1234.xml"/><Relationship Id="rId36" Type="http://schemas.openxmlformats.org/officeDocument/2006/relationships/tags" Target="../tags/tag1242.xml"/><Relationship Id="rId49" Type="http://schemas.openxmlformats.org/officeDocument/2006/relationships/tags" Target="../tags/tag1255.xml"/><Relationship Id="rId57" Type="http://schemas.openxmlformats.org/officeDocument/2006/relationships/tags" Target="../tags/tag1263.xml"/><Relationship Id="rId10" Type="http://schemas.openxmlformats.org/officeDocument/2006/relationships/tags" Target="../tags/tag1216.xml"/><Relationship Id="rId31" Type="http://schemas.openxmlformats.org/officeDocument/2006/relationships/tags" Target="../tags/tag1237.xml"/><Relationship Id="rId44" Type="http://schemas.openxmlformats.org/officeDocument/2006/relationships/tags" Target="../tags/tag1250.xml"/><Relationship Id="rId52" Type="http://schemas.openxmlformats.org/officeDocument/2006/relationships/tags" Target="../tags/tag1258.xml"/><Relationship Id="rId60" Type="http://schemas.openxmlformats.org/officeDocument/2006/relationships/tags" Target="../tags/tag1266.xml"/><Relationship Id="rId65" Type="http://schemas.openxmlformats.org/officeDocument/2006/relationships/tags" Target="../tags/tag1271.xml"/><Relationship Id="rId73" Type="http://schemas.openxmlformats.org/officeDocument/2006/relationships/tags" Target="../tags/tag1279.xml"/><Relationship Id="rId78" Type="http://schemas.openxmlformats.org/officeDocument/2006/relationships/tags" Target="../tags/tag1284.xml"/><Relationship Id="rId81" Type="http://schemas.openxmlformats.org/officeDocument/2006/relationships/tags" Target="../tags/tag1287.xml"/><Relationship Id="rId86" Type="http://schemas.openxmlformats.org/officeDocument/2006/relationships/slideLayout" Target="../slideLayouts/slideLayout2.xml"/><Relationship Id="rId4" Type="http://schemas.openxmlformats.org/officeDocument/2006/relationships/tags" Target="../tags/tag1210.xml"/><Relationship Id="rId9" Type="http://schemas.openxmlformats.org/officeDocument/2006/relationships/tags" Target="../tags/tag1215.xml"/><Relationship Id="rId13" Type="http://schemas.openxmlformats.org/officeDocument/2006/relationships/tags" Target="../tags/tag1219.xml"/><Relationship Id="rId18" Type="http://schemas.openxmlformats.org/officeDocument/2006/relationships/tags" Target="../tags/tag1224.xml"/><Relationship Id="rId39" Type="http://schemas.openxmlformats.org/officeDocument/2006/relationships/tags" Target="../tags/tag1245.xml"/><Relationship Id="rId34" Type="http://schemas.openxmlformats.org/officeDocument/2006/relationships/tags" Target="../tags/tag1240.xml"/><Relationship Id="rId50" Type="http://schemas.openxmlformats.org/officeDocument/2006/relationships/tags" Target="../tags/tag1256.xml"/><Relationship Id="rId55" Type="http://schemas.openxmlformats.org/officeDocument/2006/relationships/tags" Target="../tags/tag1261.xml"/><Relationship Id="rId76" Type="http://schemas.openxmlformats.org/officeDocument/2006/relationships/tags" Target="../tags/tag1282.xml"/><Relationship Id="rId7" Type="http://schemas.openxmlformats.org/officeDocument/2006/relationships/tags" Target="../tags/tag1213.xml"/><Relationship Id="rId71" Type="http://schemas.openxmlformats.org/officeDocument/2006/relationships/tags" Target="../tags/tag1277.xml"/><Relationship Id="rId2" Type="http://schemas.openxmlformats.org/officeDocument/2006/relationships/tags" Target="../tags/tag1208.xml"/><Relationship Id="rId29" Type="http://schemas.openxmlformats.org/officeDocument/2006/relationships/tags" Target="../tags/tag1235.xml"/><Relationship Id="rId24" Type="http://schemas.openxmlformats.org/officeDocument/2006/relationships/tags" Target="../tags/tag1230.xml"/><Relationship Id="rId40" Type="http://schemas.openxmlformats.org/officeDocument/2006/relationships/tags" Target="../tags/tag1246.xml"/><Relationship Id="rId45" Type="http://schemas.openxmlformats.org/officeDocument/2006/relationships/tags" Target="../tags/tag1251.xml"/><Relationship Id="rId66" Type="http://schemas.openxmlformats.org/officeDocument/2006/relationships/tags" Target="../tags/tag1272.xml"/><Relationship Id="rId87" Type="http://schemas.openxmlformats.org/officeDocument/2006/relationships/notesSlide" Target="../notesSlides/notesSlide18.xml"/><Relationship Id="rId61" Type="http://schemas.openxmlformats.org/officeDocument/2006/relationships/tags" Target="../tags/tag1267.xml"/><Relationship Id="rId82" Type="http://schemas.openxmlformats.org/officeDocument/2006/relationships/tags" Target="../tags/tag1288.xml"/><Relationship Id="rId19" Type="http://schemas.openxmlformats.org/officeDocument/2006/relationships/tags" Target="../tags/tag1225.xml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tags" Target="../tags/tag1317.xml"/><Relationship Id="rId21" Type="http://schemas.openxmlformats.org/officeDocument/2006/relationships/tags" Target="../tags/tag1312.xml"/><Relationship Id="rId34" Type="http://schemas.openxmlformats.org/officeDocument/2006/relationships/tags" Target="../tags/tag1325.xml"/><Relationship Id="rId42" Type="http://schemas.openxmlformats.org/officeDocument/2006/relationships/tags" Target="../tags/tag1333.xml"/><Relationship Id="rId47" Type="http://schemas.openxmlformats.org/officeDocument/2006/relationships/tags" Target="../tags/tag1338.xml"/><Relationship Id="rId50" Type="http://schemas.openxmlformats.org/officeDocument/2006/relationships/tags" Target="../tags/tag1341.xml"/><Relationship Id="rId55" Type="http://schemas.openxmlformats.org/officeDocument/2006/relationships/tags" Target="../tags/tag1346.xml"/><Relationship Id="rId63" Type="http://schemas.openxmlformats.org/officeDocument/2006/relationships/notesSlide" Target="../notesSlides/notesSlide19.xml"/><Relationship Id="rId7" Type="http://schemas.openxmlformats.org/officeDocument/2006/relationships/tags" Target="../tags/tag1298.xml"/><Relationship Id="rId2" Type="http://schemas.openxmlformats.org/officeDocument/2006/relationships/tags" Target="../tags/tag1293.xml"/><Relationship Id="rId16" Type="http://schemas.openxmlformats.org/officeDocument/2006/relationships/tags" Target="../tags/tag1307.xml"/><Relationship Id="rId29" Type="http://schemas.openxmlformats.org/officeDocument/2006/relationships/tags" Target="../tags/tag1320.xml"/><Relationship Id="rId11" Type="http://schemas.openxmlformats.org/officeDocument/2006/relationships/tags" Target="../tags/tag1302.xml"/><Relationship Id="rId24" Type="http://schemas.openxmlformats.org/officeDocument/2006/relationships/tags" Target="../tags/tag1315.xml"/><Relationship Id="rId32" Type="http://schemas.openxmlformats.org/officeDocument/2006/relationships/tags" Target="../tags/tag1323.xml"/><Relationship Id="rId37" Type="http://schemas.openxmlformats.org/officeDocument/2006/relationships/tags" Target="../tags/tag1328.xml"/><Relationship Id="rId40" Type="http://schemas.openxmlformats.org/officeDocument/2006/relationships/tags" Target="../tags/tag1331.xml"/><Relationship Id="rId45" Type="http://schemas.openxmlformats.org/officeDocument/2006/relationships/tags" Target="../tags/tag1336.xml"/><Relationship Id="rId53" Type="http://schemas.openxmlformats.org/officeDocument/2006/relationships/tags" Target="../tags/tag1344.xml"/><Relationship Id="rId58" Type="http://schemas.openxmlformats.org/officeDocument/2006/relationships/tags" Target="../tags/tag1349.xml"/><Relationship Id="rId66" Type="http://schemas.openxmlformats.org/officeDocument/2006/relationships/chart" Target="../charts/chart19.xml"/><Relationship Id="rId5" Type="http://schemas.openxmlformats.org/officeDocument/2006/relationships/tags" Target="../tags/tag1296.xml"/><Relationship Id="rId61" Type="http://schemas.openxmlformats.org/officeDocument/2006/relationships/tags" Target="../tags/tag1352.xml"/><Relationship Id="rId19" Type="http://schemas.openxmlformats.org/officeDocument/2006/relationships/tags" Target="../tags/tag1310.xml"/><Relationship Id="rId14" Type="http://schemas.openxmlformats.org/officeDocument/2006/relationships/tags" Target="../tags/tag1305.xml"/><Relationship Id="rId22" Type="http://schemas.openxmlformats.org/officeDocument/2006/relationships/tags" Target="../tags/tag1313.xml"/><Relationship Id="rId27" Type="http://schemas.openxmlformats.org/officeDocument/2006/relationships/tags" Target="../tags/tag1318.xml"/><Relationship Id="rId30" Type="http://schemas.openxmlformats.org/officeDocument/2006/relationships/tags" Target="../tags/tag1321.xml"/><Relationship Id="rId35" Type="http://schemas.openxmlformats.org/officeDocument/2006/relationships/tags" Target="../tags/tag1326.xml"/><Relationship Id="rId43" Type="http://schemas.openxmlformats.org/officeDocument/2006/relationships/tags" Target="../tags/tag1334.xml"/><Relationship Id="rId48" Type="http://schemas.openxmlformats.org/officeDocument/2006/relationships/tags" Target="../tags/tag1339.xml"/><Relationship Id="rId56" Type="http://schemas.openxmlformats.org/officeDocument/2006/relationships/tags" Target="../tags/tag1347.xml"/><Relationship Id="rId64" Type="http://schemas.openxmlformats.org/officeDocument/2006/relationships/oleObject" Target="../embeddings/oleObject22.bin"/><Relationship Id="rId8" Type="http://schemas.openxmlformats.org/officeDocument/2006/relationships/tags" Target="../tags/tag1299.xml"/><Relationship Id="rId51" Type="http://schemas.openxmlformats.org/officeDocument/2006/relationships/tags" Target="../tags/tag1342.xml"/><Relationship Id="rId3" Type="http://schemas.openxmlformats.org/officeDocument/2006/relationships/tags" Target="../tags/tag1294.xml"/><Relationship Id="rId12" Type="http://schemas.openxmlformats.org/officeDocument/2006/relationships/tags" Target="../tags/tag1303.xml"/><Relationship Id="rId17" Type="http://schemas.openxmlformats.org/officeDocument/2006/relationships/tags" Target="../tags/tag1308.xml"/><Relationship Id="rId25" Type="http://schemas.openxmlformats.org/officeDocument/2006/relationships/tags" Target="../tags/tag1316.xml"/><Relationship Id="rId33" Type="http://schemas.openxmlformats.org/officeDocument/2006/relationships/tags" Target="../tags/tag1324.xml"/><Relationship Id="rId38" Type="http://schemas.openxmlformats.org/officeDocument/2006/relationships/tags" Target="../tags/tag1329.xml"/><Relationship Id="rId46" Type="http://schemas.openxmlformats.org/officeDocument/2006/relationships/tags" Target="../tags/tag1337.xml"/><Relationship Id="rId59" Type="http://schemas.openxmlformats.org/officeDocument/2006/relationships/tags" Target="../tags/tag1350.xml"/><Relationship Id="rId20" Type="http://schemas.openxmlformats.org/officeDocument/2006/relationships/tags" Target="../tags/tag1311.xml"/><Relationship Id="rId41" Type="http://schemas.openxmlformats.org/officeDocument/2006/relationships/tags" Target="../tags/tag1332.xml"/><Relationship Id="rId54" Type="http://schemas.openxmlformats.org/officeDocument/2006/relationships/tags" Target="../tags/tag1345.xml"/><Relationship Id="rId62" Type="http://schemas.openxmlformats.org/officeDocument/2006/relationships/slideLayout" Target="../slideLayouts/slideLayout2.xml"/><Relationship Id="rId1" Type="http://schemas.openxmlformats.org/officeDocument/2006/relationships/tags" Target="../tags/tag1292.xml"/><Relationship Id="rId6" Type="http://schemas.openxmlformats.org/officeDocument/2006/relationships/tags" Target="../tags/tag1297.xml"/><Relationship Id="rId15" Type="http://schemas.openxmlformats.org/officeDocument/2006/relationships/tags" Target="../tags/tag1306.xml"/><Relationship Id="rId23" Type="http://schemas.openxmlformats.org/officeDocument/2006/relationships/tags" Target="../tags/tag1314.xml"/><Relationship Id="rId28" Type="http://schemas.openxmlformats.org/officeDocument/2006/relationships/tags" Target="../tags/tag1319.xml"/><Relationship Id="rId36" Type="http://schemas.openxmlformats.org/officeDocument/2006/relationships/tags" Target="../tags/tag1327.xml"/><Relationship Id="rId49" Type="http://schemas.openxmlformats.org/officeDocument/2006/relationships/tags" Target="../tags/tag1340.xml"/><Relationship Id="rId57" Type="http://schemas.openxmlformats.org/officeDocument/2006/relationships/tags" Target="../tags/tag1348.xml"/><Relationship Id="rId10" Type="http://schemas.openxmlformats.org/officeDocument/2006/relationships/tags" Target="../tags/tag1301.xml"/><Relationship Id="rId31" Type="http://schemas.openxmlformats.org/officeDocument/2006/relationships/tags" Target="../tags/tag1322.xml"/><Relationship Id="rId44" Type="http://schemas.openxmlformats.org/officeDocument/2006/relationships/tags" Target="../tags/tag1335.xml"/><Relationship Id="rId52" Type="http://schemas.openxmlformats.org/officeDocument/2006/relationships/tags" Target="../tags/tag1343.xml"/><Relationship Id="rId60" Type="http://schemas.openxmlformats.org/officeDocument/2006/relationships/tags" Target="../tags/tag1351.xml"/><Relationship Id="rId65" Type="http://schemas.openxmlformats.org/officeDocument/2006/relationships/image" Target="../media/image1.emf"/><Relationship Id="rId4" Type="http://schemas.openxmlformats.org/officeDocument/2006/relationships/tags" Target="../tags/tag1295.xml"/><Relationship Id="rId9" Type="http://schemas.openxmlformats.org/officeDocument/2006/relationships/tags" Target="../tags/tag1300.xml"/><Relationship Id="rId13" Type="http://schemas.openxmlformats.org/officeDocument/2006/relationships/tags" Target="../tags/tag1304.xml"/><Relationship Id="rId18" Type="http://schemas.openxmlformats.org/officeDocument/2006/relationships/tags" Target="../tags/tag1309.xml"/><Relationship Id="rId39" Type="http://schemas.openxmlformats.org/officeDocument/2006/relationships/tags" Target="../tags/tag1330.xml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1378.xml"/><Relationship Id="rId21" Type="http://schemas.openxmlformats.org/officeDocument/2006/relationships/tags" Target="../tags/tag1373.xml"/><Relationship Id="rId42" Type="http://schemas.openxmlformats.org/officeDocument/2006/relationships/tags" Target="../tags/tag1394.xml"/><Relationship Id="rId47" Type="http://schemas.openxmlformats.org/officeDocument/2006/relationships/tags" Target="../tags/tag1399.xml"/><Relationship Id="rId63" Type="http://schemas.openxmlformats.org/officeDocument/2006/relationships/tags" Target="../tags/tag1415.xml"/><Relationship Id="rId68" Type="http://schemas.openxmlformats.org/officeDocument/2006/relationships/tags" Target="../tags/tag1420.xml"/><Relationship Id="rId84" Type="http://schemas.openxmlformats.org/officeDocument/2006/relationships/tags" Target="../tags/tag1436.xml"/><Relationship Id="rId89" Type="http://schemas.openxmlformats.org/officeDocument/2006/relationships/notesSlide" Target="../notesSlides/notesSlide20.xml"/><Relationship Id="rId16" Type="http://schemas.openxmlformats.org/officeDocument/2006/relationships/tags" Target="../tags/tag1368.xml"/><Relationship Id="rId11" Type="http://schemas.openxmlformats.org/officeDocument/2006/relationships/tags" Target="../tags/tag1363.xml"/><Relationship Id="rId32" Type="http://schemas.openxmlformats.org/officeDocument/2006/relationships/tags" Target="../tags/tag1384.xml"/><Relationship Id="rId37" Type="http://schemas.openxmlformats.org/officeDocument/2006/relationships/tags" Target="../tags/tag1389.xml"/><Relationship Id="rId53" Type="http://schemas.openxmlformats.org/officeDocument/2006/relationships/tags" Target="../tags/tag1405.xml"/><Relationship Id="rId58" Type="http://schemas.openxmlformats.org/officeDocument/2006/relationships/tags" Target="../tags/tag1410.xml"/><Relationship Id="rId74" Type="http://schemas.openxmlformats.org/officeDocument/2006/relationships/tags" Target="../tags/tag1426.xml"/><Relationship Id="rId79" Type="http://schemas.openxmlformats.org/officeDocument/2006/relationships/tags" Target="../tags/tag1431.xml"/><Relationship Id="rId5" Type="http://schemas.openxmlformats.org/officeDocument/2006/relationships/tags" Target="../tags/tag1357.xml"/><Relationship Id="rId90" Type="http://schemas.openxmlformats.org/officeDocument/2006/relationships/oleObject" Target="../embeddings/oleObject23.bin"/><Relationship Id="rId14" Type="http://schemas.openxmlformats.org/officeDocument/2006/relationships/tags" Target="../tags/tag1366.xml"/><Relationship Id="rId22" Type="http://schemas.openxmlformats.org/officeDocument/2006/relationships/tags" Target="../tags/tag1374.xml"/><Relationship Id="rId27" Type="http://schemas.openxmlformats.org/officeDocument/2006/relationships/tags" Target="../tags/tag1379.xml"/><Relationship Id="rId30" Type="http://schemas.openxmlformats.org/officeDocument/2006/relationships/tags" Target="../tags/tag1382.xml"/><Relationship Id="rId35" Type="http://schemas.openxmlformats.org/officeDocument/2006/relationships/tags" Target="../tags/tag1387.xml"/><Relationship Id="rId43" Type="http://schemas.openxmlformats.org/officeDocument/2006/relationships/tags" Target="../tags/tag1395.xml"/><Relationship Id="rId48" Type="http://schemas.openxmlformats.org/officeDocument/2006/relationships/tags" Target="../tags/tag1400.xml"/><Relationship Id="rId56" Type="http://schemas.openxmlformats.org/officeDocument/2006/relationships/tags" Target="../tags/tag1408.xml"/><Relationship Id="rId64" Type="http://schemas.openxmlformats.org/officeDocument/2006/relationships/tags" Target="../tags/tag1416.xml"/><Relationship Id="rId69" Type="http://schemas.openxmlformats.org/officeDocument/2006/relationships/tags" Target="../tags/tag1421.xml"/><Relationship Id="rId77" Type="http://schemas.openxmlformats.org/officeDocument/2006/relationships/tags" Target="../tags/tag1429.xml"/><Relationship Id="rId8" Type="http://schemas.openxmlformats.org/officeDocument/2006/relationships/tags" Target="../tags/tag1360.xml"/><Relationship Id="rId51" Type="http://schemas.openxmlformats.org/officeDocument/2006/relationships/tags" Target="../tags/tag1403.xml"/><Relationship Id="rId72" Type="http://schemas.openxmlformats.org/officeDocument/2006/relationships/tags" Target="../tags/tag1424.xml"/><Relationship Id="rId80" Type="http://schemas.openxmlformats.org/officeDocument/2006/relationships/tags" Target="../tags/tag1432.xml"/><Relationship Id="rId85" Type="http://schemas.openxmlformats.org/officeDocument/2006/relationships/tags" Target="../tags/tag1437.xml"/><Relationship Id="rId3" Type="http://schemas.openxmlformats.org/officeDocument/2006/relationships/tags" Target="../tags/tag1355.xml"/><Relationship Id="rId12" Type="http://schemas.openxmlformats.org/officeDocument/2006/relationships/tags" Target="../tags/tag1364.xml"/><Relationship Id="rId17" Type="http://schemas.openxmlformats.org/officeDocument/2006/relationships/tags" Target="../tags/tag1369.xml"/><Relationship Id="rId25" Type="http://schemas.openxmlformats.org/officeDocument/2006/relationships/tags" Target="../tags/tag1377.xml"/><Relationship Id="rId33" Type="http://schemas.openxmlformats.org/officeDocument/2006/relationships/tags" Target="../tags/tag1385.xml"/><Relationship Id="rId38" Type="http://schemas.openxmlformats.org/officeDocument/2006/relationships/tags" Target="../tags/tag1390.xml"/><Relationship Id="rId46" Type="http://schemas.openxmlformats.org/officeDocument/2006/relationships/tags" Target="../tags/tag1398.xml"/><Relationship Id="rId59" Type="http://schemas.openxmlformats.org/officeDocument/2006/relationships/tags" Target="../tags/tag1411.xml"/><Relationship Id="rId67" Type="http://schemas.openxmlformats.org/officeDocument/2006/relationships/tags" Target="../tags/tag1419.xml"/><Relationship Id="rId20" Type="http://schemas.openxmlformats.org/officeDocument/2006/relationships/tags" Target="../tags/tag1372.xml"/><Relationship Id="rId41" Type="http://schemas.openxmlformats.org/officeDocument/2006/relationships/tags" Target="../tags/tag1393.xml"/><Relationship Id="rId54" Type="http://schemas.openxmlformats.org/officeDocument/2006/relationships/tags" Target="../tags/tag1406.xml"/><Relationship Id="rId62" Type="http://schemas.openxmlformats.org/officeDocument/2006/relationships/tags" Target="../tags/tag1414.xml"/><Relationship Id="rId70" Type="http://schemas.openxmlformats.org/officeDocument/2006/relationships/tags" Target="../tags/tag1422.xml"/><Relationship Id="rId75" Type="http://schemas.openxmlformats.org/officeDocument/2006/relationships/tags" Target="../tags/tag1427.xml"/><Relationship Id="rId83" Type="http://schemas.openxmlformats.org/officeDocument/2006/relationships/tags" Target="../tags/tag1435.xml"/><Relationship Id="rId88" Type="http://schemas.openxmlformats.org/officeDocument/2006/relationships/slideLayout" Target="../slideLayouts/slideLayout2.xml"/><Relationship Id="rId91" Type="http://schemas.openxmlformats.org/officeDocument/2006/relationships/image" Target="../media/image1.emf"/><Relationship Id="rId1" Type="http://schemas.openxmlformats.org/officeDocument/2006/relationships/tags" Target="../tags/tag1353.xml"/><Relationship Id="rId6" Type="http://schemas.openxmlformats.org/officeDocument/2006/relationships/tags" Target="../tags/tag1358.xml"/><Relationship Id="rId15" Type="http://schemas.openxmlformats.org/officeDocument/2006/relationships/tags" Target="../tags/tag1367.xml"/><Relationship Id="rId23" Type="http://schemas.openxmlformats.org/officeDocument/2006/relationships/tags" Target="../tags/tag1375.xml"/><Relationship Id="rId28" Type="http://schemas.openxmlformats.org/officeDocument/2006/relationships/tags" Target="../tags/tag1380.xml"/><Relationship Id="rId36" Type="http://schemas.openxmlformats.org/officeDocument/2006/relationships/tags" Target="../tags/tag1388.xml"/><Relationship Id="rId49" Type="http://schemas.openxmlformats.org/officeDocument/2006/relationships/tags" Target="../tags/tag1401.xml"/><Relationship Id="rId57" Type="http://schemas.openxmlformats.org/officeDocument/2006/relationships/tags" Target="../tags/tag1409.xml"/><Relationship Id="rId10" Type="http://schemas.openxmlformats.org/officeDocument/2006/relationships/tags" Target="../tags/tag1362.xml"/><Relationship Id="rId31" Type="http://schemas.openxmlformats.org/officeDocument/2006/relationships/tags" Target="../tags/tag1383.xml"/><Relationship Id="rId44" Type="http://schemas.openxmlformats.org/officeDocument/2006/relationships/tags" Target="../tags/tag1396.xml"/><Relationship Id="rId52" Type="http://schemas.openxmlformats.org/officeDocument/2006/relationships/tags" Target="../tags/tag1404.xml"/><Relationship Id="rId60" Type="http://schemas.openxmlformats.org/officeDocument/2006/relationships/tags" Target="../tags/tag1412.xml"/><Relationship Id="rId65" Type="http://schemas.openxmlformats.org/officeDocument/2006/relationships/tags" Target="../tags/tag1417.xml"/><Relationship Id="rId73" Type="http://schemas.openxmlformats.org/officeDocument/2006/relationships/tags" Target="../tags/tag1425.xml"/><Relationship Id="rId78" Type="http://schemas.openxmlformats.org/officeDocument/2006/relationships/tags" Target="../tags/tag1430.xml"/><Relationship Id="rId81" Type="http://schemas.openxmlformats.org/officeDocument/2006/relationships/tags" Target="../tags/tag1433.xml"/><Relationship Id="rId86" Type="http://schemas.openxmlformats.org/officeDocument/2006/relationships/tags" Target="../tags/tag1438.xml"/><Relationship Id="rId4" Type="http://schemas.openxmlformats.org/officeDocument/2006/relationships/tags" Target="../tags/tag1356.xml"/><Relationship Id="rId9" Type="http://schemas.openxmlformats.org/officeDocument/2006/relationships/tags" Target="../tags/tag1361.xml"/><Relationship Id="rId13" Type="http://schemas.openxmlformats.org/officeDocument/2006/relationships/tags" Target="../tags/tag1365.xml"/><Relationship Id="rId18" Type="http://schemas.openxmlformats.org/officeDocument/2006/relationships/tags" Target="../tags/tag1370.xml"/><Relationship Id="rId39" Type="http://schemas.openxmlformats.org/officeDocument/2006/relationships/tags" Target="../tags/tag1391.xml"/><Relationship Id="rId34" Type="http://schemas.openxmlformats.org/officeDocument/2006/relationships/tags" Target="../tags/tag1386.xml"/><Relationship Id="rId50" Type="http://schemas.openxmlformats.org/officeDocument/2006/relationships/tags" Target="../tags/tag1402.xml"/><Relationship Id="rId55" Type="http://schemas.openxmlformats.org/officeDocument/2006/relationships/tags" Target="../tags/tag1407.xml"/><Relationship Id="rId76" Type="http://schemas.openxmlformats.org/officeDocument/2006/relationships/tags" Target="../tags/tag1428.xml"/><Relationship Id="rId7" Type="http://schemas.openxmlformats.org/officeDocument/2006/relationships/tags" Target="../tags/tag1359.xml"/><Relationship Id="rId71" Type="http://schemas.openxmlformats.org/officeDocument/2006/relationships/tags" Target="../tags/tag1423.xml"/><Relationship Id="rId92" Type="http://schemas.openxmlformats.org/officeDocument/2006/relationships/chart" Target="../charts/chart20.xml"/><Relationship Id="rId2" Type="http://schemas.openxmlformats.org/officeDocument/2006/relationships/tags" Target="../tags/tag1354.xml"/><Relationship Id="rId29" Type="http://schemas.openxmlformats.org/officeDocument/2006/relationships/tags" Target="../tags/tag1381.xml"/><Relationship Id="rId24" Type="http://schemas.openxmlformats.org/officeDocument/2006/relationships/tags" Target="../tags/tag1376.xml"/><Relationship Id="rId40" Type="http://schemas.openxmlformats.org/officeDocument/2006/relationships/tags" Target="../tags/tag1392.xml"/><Relationship Id="rId45" Type="http://schemas.openxmlformats.org/officeDocument/2006/relationships/tags" Target="../tags/tag1397.xml"/><Relationship Id="rId66" Type="http://schemas.openxmlformats.org/officeDocument/2006/relationships/tags" Target="../tags/tag1418.xml"/><Relationship Id="rId87" Type="http://schemas.openxmlformats.org/officeDocument/2006/relationships/tags" Target="../tags/tag1439.xml"/><Relationship Id="rId61" Type="http://schemas.openxmlformats.org/officeDocument/2006/relationships/tags" Target="../tags/tag1413.xml"/><Relationship Id="rId82" Type="http://schemas.openxmlformats.org/officeDocument/2006/relationships/tags" Target="../tags/tag1434.xml"/><Relationship Id="rId19" Type="http://schemas.openxmlformats.org/officeDocument/2006/relationships/tags" Target="../tags/tag1371.xml"/></Relationships>
</file>

<file path=ppt/slides/_rels/slide23.xml.rels><?xml version="1.0" encoding="UTF-8" standalone="yes"?>
<Relationships xmlns="http://schemas.openxmlformats.org/package/2006/relationships"><Relationship Id="rId26" Type="http://schemas.openxmlformats.org/officeDocument/2006/relationships/tags" Target="../tags/tag1465.xml"/><Relationship Id="rId21" Type="http://schemas.openxmlformats.org/officeDocument/2006/relationships/tags" Target="../tags/tag1460.xml"/><Relationship Id="rId34" Type="http://schemas.openxmlformats.org/officeDocument/2006/relationships/tags" Target="../tags/tag1473.xml"/><Relationship Id="rId42" Type="http://schemas.openxmlformats.org/officeDocument/2006/relationships/tags" Target="../tags/tag1481.xml"/><Relationship Id="rId47" Type="http://schemas.openxmlformats.org/officeDocument/2006/relationships/tags" Target="../tags/tag1486.xml"/><Relationship Id="rId50" Type="http://schemas.openxmlformats.org/officeDocument/2006/relationships/tags" Target="../tags/tag1489.xml"/><Relationship Id="rId55" Type="http://schemas.openxmlformats.org/officeDocument/2006/relationships/tags" Target="../tags/tag1494.xml"/><Relationship Id="rId63" Type="http://schemas.openxmlformats.org/officeDocument/2006/relationships/slideLayout" Target="../slideLayouts/slideLayout2.xml"/><Relationship Id="rId7" Type="http://schemas.openxmlformats.org/officeDocument/2006/relationships/tags" Target="../tags/tag1446.xml"/><Relationship Id="rId2" Type="http://schemas.openxmlformats.org/officeDocument/2006/relationships/tags" Target="../tags/tag1441.xml"/><Relationship Id="rId16" Type="http://schemas.openxmlformats.org/officeDocument/2006/relationships/tags" Target="../tags/tag1455.xml"/><Relationship Id="rId29" Type="http://schemas.openxmlformats.org/officeDocument/2006/relationships/tags" Target="../tags/tag1468.xml"/><Relationship Id="rId11" Type="http://schemas.openxmlformats.org/officeDocument/2006/relationships/tags" Target="../tags/tag1450.xml"/><Relationship Id="rId24" Type="http://schemas.openxmlformats.org/officeDocument/2006/relationships/tags" Target="../tags/tag1463.xml"/><Relationship Id="rId32" Type="http://schemas.openxmlformats.org/officeDocument/2006/relationships/tags" Target="../tags/tag1471.xml"/><Relationship Id="rId37" Type="http://schemas.openxmlformats.org/officeDocument/2006/relationships/tags" Target="../tags/tag1476.xml"/><Relationship Id="rId40" Type="http://schemas.openxmlformats.org/officeDocument/2006/relationships/tags" Target="../tags/tag1479.xml"/><Relationship Id="rId45" Type="http://schemas.openxmlformats.org/officeDocument/2006/relationships/tags" Target="../tags/tag1484.xml"/><Relationship Id="rId53" Type="http://schemas.openxmlformats.org/officeDocument/2006/relationships/tags" Target="../tags/tag1492.xml"/><Relationship Id="rId58" Type="http://schemas.openxmlformats.org/officeDocument/2006/relationships/tags" Target="../tags/tag1497.xml"/><Relationship Id="rId66" Type="http://schemas.openxmlformats.org/officeDocument/2006/relationships/image" Target="../media/image1.emf"/><Relationship Id="rId5" Type="http://schemas.openxmlformats.org/officeDocument/2006/relationships/tags" Target="../tags/tag1444.xml"/><Relationship Id="rId61" Type="http://schemas.openxmlformats.org/officeDocument/2006/relationships/tags" Target="../tags/tag1500.xml"/><Relationship Id="rId19" Type="http://schemas.openxmlformats.org/officeDocument/2006/relationships/tags" Target="../tags/tag1458.xml"/><Relationship Id="rId14" Type="http://schemas.openxmlformats.org/officeDocument/2006/relationships/tags" Target="../tags/tag1453.xml"/><Relationship Id="rId22" Type="http://schemas.openxmlformats.org/officeDocument/2006/relationships/tags" Target="../tags/tag1461.xml"/><Relationship Id="rId27" Type="http://schemas.openxmlformats.org/officeDocument/2006/relationships/tags" Target="../tags/tag1466.xml"/><Relationship Id="rId30" Type="http://schemas.openxmlformats.org/officeDocument/2006/relationships/tags" Target="../tags/tag1469.xml"/><Relationship Id="rId35" Type="http://schemas.openxmlformats.org/officeDocument/2006/relationships/tags" Target="../tags/tag1474.xml"/><Relationship Id="rId43" Type="http://schemas.openxmlformats.org/officeDocument/2006/relationships/tags" Target="../tags/tag1482.xml"/><Relationship Id="rId48" Type="http://schemas.openxmlformats.org/officeDocument/2006/relationships/tags" Target="../tags/tag1487.xml"/><Relationship Id="rId56" Type="http://schemas.openxmlformats.org/officeDocument/2006/relationships/tags" Target="../tags/tag1495.xml"/><Relationship Id="rId64" Type="http://schemas.openxmlformats.org/officeDocument/2006/relationships/notesSlide" Target="../notesSlides/notesSlide21.xml"/><Relationship Id="rId8" Type="http://schemas.openxmlformats.org/officeDocument/2006/relationships/tags" Target="../tags/tag1447.xml"/><Relationship Id="rId51" Type="http://schemas.openxmlformats.org/officeDocument/2006/relationships/tags" Target="../tags/tag1490.xml"/><Relationship Id="rId3" Type="http://schemas.openxmlformats.org/officeDocument/2006/relationships/tags" Target="../tags/tag1442.xml"/><Relationship Id="rId12" Type="http://schemas.openxmlformats.org/officeDocument/2006/relationships/tags" Target="../tags/tag1451.xml"/><Relationship Id="rId17" Type="http://schemas.openxmlformats.org/officeDocument/2006/relationships/tags" Target="../tags/tag1456.xml"/><Relationship Id="rId25" Type="http://schemas.openxmlformats.org/officeDocument/2006/relationships/tags" Target="../tags/tag1464.xml"/><Relationship Id="rId33" Type="http://schemas.openxmlformats.org/officeDocument/2006/relationships/tags" Target="../tags/tag1472.xml"/><Relationship Id="rId38" Type="http://schemas.openxmlformats.org/officeDocument/2006/relationships/tags" Target="../tags/tag1477.xml"/><Relationship Id="rId46" Type="http://schemas.openxmlformats.org/officeDocument/2006/relationships/tags" Target="../tags/tag1485.xml"/><Relationship Id="rId59" Type="http://schemas.openxmlformats.org/officeDocument/2006/relationships/tags" Target="../tags/tag1498.xml"/><Relationship Id="rId67" Type="http://schemas.openxmlformats.org/officeDocument/2006/relationships/chart" Target="../charts/chart21.xml"/><Relationship Id="rId20" Type="http://schemas.openxmlformats.org/officeDocument/2006/relationships/tags" Target="../tags/tag1459.xml"/><Relationship Id="rId41" Type="http://schemas.openxmlformats.org/officeDocument/2006/relationships/tags" Target="../tags/tag1480.xml"/><Relationship Id="rId54" Type="http://schemas.openxmlformats.org/officeDocument/2006/relationships/tags" Target="../tags/tag1493.xml"/><Relationship Id="rId62" Type="http://schemas.openxmlformats.org/officeDocument/2006/relationships/tags" Target="../tags/tag1501.xml"/><Relationship Id="rId1" Type="http://schemas.openxmlformats.org/officeDocument/2006/relationships/tags" Target="../tags/tag1440.xml"/><Relationship Id="rId6" Type="http://schemas.openxmlformats.org/officeDocument/2006/relationships/tags" Target="../tags/tag1445.xml"/><Relationship Id="rId15" Type="http://schemas.openxmlformats.org/officeDocument/2006/relationships/tags" Target="../tags/tag1454.xml"/><Relationship Id="rId23" Type="http://schemas.openxmlformats.org/officeDocument/2006/relationships/tags" Target="../tags/tag1462.xml"/><Relationship Id="rId28" Type="http://schemas.openxmlformats.org/officeDocument/2006/relationships/tags" Target="../tags/tag1467.xml"/><Relationship Id="rId36" Type="http://schemas.openxmlformats.org/officeDocument/2006/relationships/tags" Target="../tags/tag1475.xml"/><Relationship Id="rId49" Type="http://schemas.openxmlformats.org/officeDocument/2006/relationships/tags" Target="../tags/tag1488.xml"/><Relationship Id="rId57" Type="http://schemas.openxmlformats.org/officeDocument/2006/relationships/tags" Target="../tags/tag1496.xml"/><Relationship Id="rId10" Type="http://schemas.openxmlformats.org/officeDocument/2006/relationships/tags" Target="../tags/tag1449.xml"/><Relationship Id="rId31" Type="http://schemas.openxmlformats.org/officeDocument/2006/relationships/tags" Target="../tags/tag1470.xml"/><Relationship Id="rId44" Type="http://schemas.openxmlformats.org/officeDocument/2006/relationships/tags" Target="../tags/tag1483.xml"/><Relationship Id="rId52" Type="http://schemas.openxmlformats.org/officeDocument/2006/relationships/tags" Target="../tags/tag1491.xml"/><Relationship Id="rId60" Type="http://schemas.openxmlformats.org/officeDocument/2006/relationships/tags" Target="../tags/tag1499.xml"/><Relationship Id="rId65" Type="http://schemas.openxmlformats.org/officeDocument/2006/relationships/oleObject" Target="../embeddings/oleObject24.bin"/><Relationship Id="rId4" Type="http://schemas.openxmlformats.org/officeDocument/2006/relationships/tags" Target="../tags/tag1443.xml"/><Relationship Id="rId9" Type="http://schemas.openxmlformats.org/officeDocument/2006/relationships/tags" Target="../tags/tag1448.xml"/><Relationship Id="rId13" Type="http://schemas.openxmlformats.org/officeDocument/2006/relationships/tags" Target="../tags/tag1452.xml"/><Relationship Id="rId18" Type="http://schemas.openxmlformats.org/officeDocument/2006/relationships/tags" Target="../tags/tag1457.xml"/><Relationship Id="rId39" Type="http://schemas.openxmlformats.org/officeDocument/2006/relationships/tags" Target="../tags/tag1478.xml"/></Relationships>
</file>

<file path=ppt/slides/_rels/slide24.xml.rels><?xml version="1.0" encoding="UTF-8" standalone="yes"?>
<Relationships xmlns="http://schemas.openxmlformats.org/package/2006/relationships"><Relationship Id="rId26" Type="http://schemas.openxmlformats.org/officeDocument/2006/relationships/tags" Target="../tags/tag1527.xml"/><Relationship Id="rId117" Type="http://schemas.openxmlformats.org/officeDocument/2006/relationships/tags" Target="../tags/tag1618.xml"/><Relationship Id="rId21" Type="http://schemas.openxmlformats.org/officeDocument/2006/relationships/tags" Target="../tags/tag1522.xml"/><Relationship Id="rId42" Type="http://schemas.openxmlformats.org/officeDocument/2006/relationships/tags" Target="../tags/tag1543.xml"/><Relationship Id="rId47" Type="http://schemas.openxmlformats.org/officeDocument/2006/relationships/tags" Target="../tags/tag1548.xml"/><Relationship Id="rId63" Type="http://schemas.openxmlformats.org/officeDocument/2006/relationships/tags" Target="../tags/tag1564.xml"/><Relationship Id="rId68" Type="http://schemas.openxmlformats.org/officeDocument/2006/relationships/tags" Target="../tags/tag1569.xml"/><Relationship Id="rId84" Type="http://schemas.openxmlformats.org/officeDocument/2006/relationships/tags" Target="../tags/tag1585.xml"/><Relationship Id="rId89" Type="http://schemas.openxmlformats.org/officeDocument/2006/relationships/tags" Target="../tags/tag1590.xml"/><Relationship Id="rId112" Type="http://schemas.openxmlformats.org/officeDocument/2006/relationships/tags" Target="../tags/tag1613.xml"/><Relationship Id="rId16" Type="http://schemas.openxmlformats.org/officeDocument/2006/relationships/tags" Target="../tags/tag1517.xml"/><Relationship Id="rId107" Type="http://schemas.openxmlformats.org/officeDocument/2006/relationships/tags" Target="../tags/tag1608.xml"/><Relationship Id="rId11" Type="http://schemas.openxmlformats.org/officeDocument/2006/relationships/tags" Target="../tags/tag1512.xml"/><Relationship Id="rId32" Type="http://schemas.openxmlformats.org/officeDocument/2006/relationships/tags" Target="../tags/tag1533.xml"/><Relationship Id="rId37" Type="http://schemas.openxmlformats.org/officeDocument/2006/relationships/tags" Target="../tags/tag1538.xml"/><Relationship Id="rId53" Type="http://schemas.openxmlformats.org/officeDocument/2006/relationships/tags" Target="../tags/tag1554.xml"/><Relationship Id="rId58" Type="http://schemas.openxmlformats.org/officeDocument/2006/relationships/tags" Target="../tags/tag1559.xml"/><Relationship Id="rId74" Type="http://schemas.openxmlformats.org/officeDocument/2006/relationships/tags" Target="../tags/tag1575.xml"/><Relationship Id="rId79" Type="http://schemas.openxmlformats.org/officeDocument/2006/relationships/tags" Target="../tags/tag1580.xml"/><Relationship Id="rId102" Type="http://schemas.openxmlformats.org/officeDocument/2006/relationships/tags" Target="../tags/tag1603.xml"/><Relationship Id="rId123" Type="http://schemas.openxmlformats.org/officeDocument/2006/relationships/tags" Target="../tags/tag1624.xml"/><Relationship Id="rId128" Type="http://schemas.openxmlformats.org/officeDocument/2006/relationships/chart" Target="../charts/chart22.xml"/><Relationship Id="rId5" Type="http://schemas.openxmlformats.org/officeDocument/2006/relationships/tags" Target="../tags/tag1506.xml"/><Relationship Id="rId90" Type="http://schemas.openxmlformats.org/officeDocument/2006/relationships/tags" Target="../tags/tag1591.xml"/><Relationship Id="rId95" Type="http://schemas.openxmlformats.org/officeDocument/2006/relationships/tags" Target="../tags/tag1596.xml"/><Relationship Id="rId22" Type="http://schemas.openxmlformats.org/officeDocument/2006/relationships/tags" Target="../tags/tag1523.xml"/><Relationship Id="rId27" Type="http://schemas.openxmlformats.org/officeDocument/2006/relationships/tags" Target="../tags/tag1528.xml"/><Relationship Id="rId43" Type="http://schemas.openxmlformats.org/officeDocument/2006/relationships/tags" Target="../tags/tag1544.xml"/><Relationship Id="rId48" Type="http://schemas.openxmlformats.org/officeDocument/2006/relationships/tags" Target="../tags/tag1549.xml"/><Relationship Id="rId64" Type="http://schemas.openxmlformats.org/officeDocument/2006/relationships/tags" Target="../tags/tag1565.xml"/><Relationship Id="rId69" Type="http://schemas.openxmlformats.org/officeDocument/2006/relationships/tags" Target="../tags/tag1570.xml"/><Relationship Id="rId113" Type="http://schemas.openxmlformats.org/officeDocument/2006/relationships/tags" Target="../tags/tag1614.xml"/><Relationship Id="rId118" Type="http://schemas.openxmlformats.org/officeDocument/2006/relationships/tags" Target="../tags/tag1619.xml"/><Relationship Id="rId80" Type="http://schemas.openxmlformats.org/officeDocument/2006/relationships/tags" Target="../tags/tag1581.xml"/><Relationship Id="rId85" Type="http://schemas.openxmlformats.org/officeDocument/2006/relationships/tags" Target="../tags/tag1586.xml"/><Relationship Id="rId12" Type="http://schemas.openxmlformats.org/officeDocument/2006/relationships/tags" Target="../tags/tag1513.xml"/><Relationship Id="rId17" Type="http://schemas.openxmlformats.org/officeDocument/2006/relationships/tags" Target="../tags/tag1518.xml"/><Relationship Id="rId33" Type="http://schemas.openxmlformats.org/officeDocument/2006/relationships/tags" Target="../tags/tag1534.xml"/><Relationship Id="rId38" Type="http://schemas.openxmlformats.org/officeDocument/2006/relationships/tags" Target="../tags/tag1539.xml"/><Relationship Id="rId59" Type="http://schemas.openxmlformats.org/officeDocument/2006/relationships/tags" Target="../tags/tag1560.xml"/><Relationship Id="rId103" Type="http://schemas.openxmlformats.org/officeDocument/2006/relationships/tags" Target="../tags/tag1604.xml"/><Relationship Id="rId108" Type="http://schemas.openxmlformats.org/officeDocument/2006/relationships/tags" Target="../tags/tag1609.xml"/><Relationship Id="rId124" Type="http://schemas.openxmlformats.org/officeDocument/2006/relationships/slideLayout" Target="../slideLayouts/slideLayout2.xml"/><Relationship Id="rId54" Type="http://schemas.openxmlformats.org/officeDocument/2006/relationships/tags" Target="../tags/tag1555.xml"/><Relationship Id="rId70" Type="http://schemas.openxmlformats.org/officeDocument/2006/relationships/tags" Target="../tags/tag1571.xml"/><Relationship Id="rId75" Type="http://schemas.openxmlformats.org/officeDocument/2006/relationships/tags" Target="../tags/tag1576.xml"/><Relationship Id="rId91" Type="http://schemas.openxmlformats.org/officeDocument/2006/relationships/tags" Target="../tags/tag1592.xml"/><Relationship Id="rId96" Type="http://schemas.openxmlformats.org/officeDocument/2006/relationships/tags" Target="../tags/tag1597.xml"/><Relationship Id="rId1" Type="http://schemas.openxmlformats.org/officeDocument/2006/relationships/tags" Target="../tags/tag1502.xml"/><Relationship Id="rId6" Type="http://schemas.openxmlformats.org/officeDocument/2006/relationships/tags" Target="../tags/tag1507.xml"/><Relationship Id="rId23" Type="http://schemas.openxmlformats.org/officeDocument/2006/relationships/tags" Target="../tags/tag1524.xml"/><Relationship Id="rId28" Type="http://schemas.openxmlformats.org/officeDocument/2006/relationships/tags" Target="../tags/tag1529.xml"/><Relationship Id="rId49" Type="http://schemas.openxmlformats.org/officeDocument/2006/relationships/tags" Target="../tags/tag1550.xml"/><Relationship Id="rId114" Type="http://schemas.openxmlformats.org/officeDocument/2006/relationships/tags" Target="../tags/tag1615.xml"/><Relationship Id="rId119" Type="http://schemas.openxmlformats.org/officeDocument/2006/relationships/tags" Target="../tags/tag1620.xml"/><Relationship Id="rId44" Type="http://schemas.openxmlformats.org/officeDocument/2006/relationships/tags" Target="../tags/tag1545.xml"/><Relationship Id="rId60" Type="http://schemas.openxmlformats.org/officeDocument/2006/relationships/tags" Target="../tags/tag1561.xml"/><Relationship Id="rId65" Type="http://schemas.openxmlformats.org/officeDocument/2006/relationships/tags" Target="../tags/tag1566.xml"/><Relationship Id="rId81" Type="http://schemas.openxmlformats.org/officeDocument/2006/relationships/tags" Target="../tags/tag1582.xml"/><Relationship Id="rId86" Type="http://schemas.openxmlformats.org/officeDocument/2006/relationships/tags" Target="../tags/tag1587.xml"/><Relationship Id="rId13" Type="http://schemas.openxmlformats.org/officeDocument/2006/relationships/tags" Target="../tags/tag1514.xml"/><Relationship Id="rId18" Type="http://schemas.openxmlformats.org/officeDocument/2006/relationships/tags" Target="../tags/tag1519.xml"/><Relationship Id="rId39" Type="http://schemas.openxmlformats.org/officeDocument/2006/relationships/tags" Target="../tags/tag1540.xml"/><Relationship Id="rId109" Type="http://schemas.openxmlformats.org/officeDocument/2006/relationships/tags" Target="../tags/tag1610.xml"/><Relationship Id="rId34" Type="http://schemas.openxmlformats.org/officeDocument/2006/relationships/tags" Target="../tags/tag1535.xml"/><Relationship Id="rId50" Type="http://schemas.openxmlformats.org/officeDocument/2006/relationships/tags" Target="../tags/tag1551.xml"/><Relationship Id="rId55" Type="http://schemas.openxmlformats.org/officeDocument/2006/relationships/tags" Target="../tags/tag1556.xml"/><Relationship Id="rId76" Type="http://schemas.openxmlformats.org/officeDocument/2006/relationships/tags" Target="../tags/tag1577.xml"/><Relationship Id="rId97" Type="http://schemas.openxmlformats.org/officeDocument/2006/relationships/tags" Target="../tags/tag1598.xml"/><Relationship Id="rId104" Type="http://schemas.openxmlformats.org/officeDocument/2006/relationships/tags" Target="../tags/tag1605.xml"/><Relationship Id="rId120" Type="http://schemas.openxmlformats.org/officeDocument/2006/relationships/tags" Target="../tags/tag1621.xml"/><Relationship Id="rId125" Type="http://schemas.openxmlformats.org/officeDocument/2006/relationships/notesSlide" Target="../notesSlides/notesSlide22.xml"/><Relationship Id="rId7" Type="http://schemas.openxmlformats.org/officeDocument/2006/relationships/tags" Target="../tags/tag1508.xml"/><Relationship Id="rId71" Type="http://schemas.openxmlformats.org/officeDocument/2006/relationships/tags" Target="../tags/tag1572.xml"/><Relationship Id="rId92" Type="http://schemas.openxmlformats.org/officeDocument/2006/relationships/tags" Target="../tags/tag1593.xml"/><Relationship Id="rId2" Type="http://schemas.openxmlformats.org/officeDocument/2006/relationships/tags" Target="../tags/tag1503.xml"/><Relationship Id="rId29" Type="http://schemas.openxmlformats.org/officeDocument/2006/relationships/tags" Target="../tags/tag1530.xml"/><Relationship Id="rId24" Type="http://schemas.openxmlformats.org/officeDocument/2006/relationships/tags" Target="../tags/tag1525.xml"/><Relationship Id="rId40" Type="http://schemas.openxmlformats.org/officeDocument/2006/relationships/tags" Target="../tags/tag1541.xml"/><Relationship Id="rId45" Type="http://schemas.openxmlformats.org/officeDocument/2006/relationships/tags" Target="../tags/tag1546.xml"/><Relationship Id="rId66" Type="http://schemas.openxmlformats.org/officeDocument/2006/relationships/tags" Target="../tags/tag1567.xml"/><Relationship Id="rId87" Type="http://schemas.openxmlformats.org/officeDocument/2006/relationships/tags" Target="../tags/tag1588.xml"/><Relationship Id="rId110" Type="http://schemas.openxmlformats.org/officeDocument/2006/relationships/tags" Target="../tags/tag1611.xml"/><Relationship Id="rId115" Type="http://schemas.openxmlformats.org/officeDocument/2006/relationships/tags" Target="../tags/tag1616.xml"/><Relationship Id="rId61" Type="http://schemas.openxmlformats.org/officeDocument/2006/relationships/tags" Target="../tags/tag1562.xml"/><Relationship Id="rId82" Type="http://schemas.openxmlformats.org/officeDocument/2006/relationships/tags" Target="../tags/tag1583.xml"/><Relationship Id="rId19" Type="http://schemas.openxmlformats.org/officeDocument/2006/relationships/tags" Target="../tags/tag1520.xml"/><Relationship Id="rId14" Type="http://schemas.openxmlformats.org/officeDocument/2006/relationships/tags" Target="../tags/tag1515.xml"/><Relationship Id="rId30" Type="http://schemas.openxmlformats.org/officeDocument/2006/relationships/tags" Target="../tags/tag1531.xml"/><Relationship Id="rId35" Type="http://schemas.openxmlformats.org/officeDocument/2006/relationships/tags" Target="../tags/tag1536.xml"/><Relationship Id="rId56" Type="http://schemas.openxmlformats.org/officeDocument/2006/relationships/tags" Target="../tags/tag1557.xml"/><Relationship Id="rId77" Type="http://schemas.openxmlformats.org/officeDocument/2006/relationships/tags" Target="../tags/tag1578.xml"/><Relationship Id="rId100" Type="http://schemas.openxmlformats.org/officeDocument/2006/relationships/tags" Target="../tags/tag1601.xml"/><Relationship Id="rId105" Type="http://schemas.openxmlformats.org/officeDocument/2006/relationships/tags" Target="../tags/tag1606.xml"/><Relationship Id="rId126" Type="http://schemas.openxmlformats.org/officeDocument/2006/relationships/oleObject" Target="../embeddings/oleObject25.bin"/><Relationship Id="rId8" Type="http://schemas.openxmlformats.org/officeDocument/2006/relationships/tags" Target="../tags/tag1509.xml"/><Relationship Id="rId51" Type="http://schemas.openxmlformats.org/officeDocument/2006/relationships/tags" Target="../tags/tag1552.xml"/><Relationship Id="rId72" Type="http://schemas.openxmlformats.org/officeDocument/2006/relationships/tags" Target="../tags/tag1573.xml"/><Relationship Id="rId93" Type="http://schemas.openxmlformats.org/officeDocument/2006/relationships/tags" Target="../tags/tag1594.xml"/><Relationship Id="rId98" Type="http://schemas.openxmlformats.org/officeDocument/2006/relationships/tags" Target="../tags/tag1599.xml"/><Relationship Id="rId121" Type="http://schemas.openxmlformats.org/officeDocument/2006/relationships/tags" Target="../tags/tag1622.xml"/><Relationship Id="rId3" Type="http://schemas.openxmlformats.org/officeDocument/2006/relationships/tags" Target="../tags/tag1504.xml"/><Relationship Id="rId25" Type="http://schemas.openxmlformats.org/officeDocument/2006/relationships/tags" Target="../tags/tag1526.xml"/><Relationship Id="rId46" Type="http://schemas.openxmlformats.org/officeDocument/2006/relationships/tags" Target="../tags/tag1547.xml"/><Relationship Id="rId67" Type="http://schemas.openxmlformats.org/officeDocument/2006/relationships/tags" Target="../tags/tag1568.xml"/><Relationship Id="rId116" Type="http://schemas.openxmlformats.org/officeDocument/2006/relationships/tags" Target="../tags/tag1617.xml"/><Relationship Id="rId20" Type="http://schemas.openxmlformats.org/officeDocument/2006/relationships/tags" Target="../tags/tag1521.xml"/><Relationship Id="rId41" Type="http://schemas.openxmlformats.org/officeDocument/2006/relationships/tags" Target="../tags/tag1542.xml"/><Relationship Id="rId62" Type="http://schemas.openxmlformats.org/officeDocument/2006/relationships/tags" Target="../tags/tag1563.xml"/><Relationship Id="rId83" Type="http://schemas.openxmlformats.org/officeDocument/2006/relationships/tags" Target="../tags/tag1584.xml"/><Relationship Id="rId88" Type="http://schemas.openxmlformats.org/officeDocument/2006/relationships/tags" Target="../tags/tag1589.xml"/><Relationship Id="rId111" Type="http://schemas.openxmlformats.org/officeDocument/2006/relationships/tags" Target="../tags/tag1612.xml"/><Relationship Id="rId15" Type="http://schemas.openxmlformats.org/officeDocument/2006/relationships/tags" Target="../tags/tag1516.xml"/><Relationship Id="rId36" Type="http://schemas.openxmlformats.org/officeDocument/2006/relationships/tags" Target="../tags/tag1537.xml"/><Relationship Id="rId57" Type="http://schemas.openxmlformats.org/officeDocument/2006/relationships/tags" Target="../tags/tag1558.xml"/><Relationship Id="rId106" Type="http://schemas.openxmlformats.org/officeDocument/2006/relationships/tags" Target="../tags/tag1607.xml"/><Relationship Id="rId127" Type="http://schemas.openxmlformats.org/officeDocument/2006/relationships/image" Target="../media/image1.emf"/><Relationship Id="rId10" Type="http://schemas.openxmlformats.org/officeDocument/2006/relationships/tags" Target="../tags/tag1511.xml"/><Relationship Id="rId31" Type="http://schemas.openxmlformats.org/officeDocument/2006/relationships/tags" Target="../tags/tag1532.xml"/><Relationship Id="rId52" Type="http://schemas.openxmlformats.org/officeDocument/2006/relationships/tags" Target="../tags/tag1553.xml"/><Relationship Id="rId73" Type="http://schemas.openxmlformats.org/officeDocument/2006/relationships/tags" Target="../tags/tag1574.xml"/><Relationship Id="rId78" Type="http://schemas.openxmlformats.org/officeDocument/2006/relationships/tags" Target="../tags/tag1579.xml"/><Relationship Id="rId94" Type="http://schemas.openxmlformats.org/officeDocument/2006/relationships/tags" Target="../tags/tag1595.xml"/><Relationship Id="rId99" Type="http://schemas.openxmlformats.org/officeDocument/2006/relationships/tags" Target="../tags/tag1600.xml"/><Relationship Id="rId101" Type="http://schemas.openxmlformats.org/officeDocument/2006/relationships/tags" Target="../tags/tag1602.xml"/><Relationship Id="rId122" Type="http://schemas.openxmlformats.org/officeDocument/2006/relationships/tags" Target="../tags/tag1623.xml"/><Relationship Id="rId4" Type="http://schemas.openxmlformats.org/officeDocument/2006/relationships/tags" Target="../tags/tag1505.xml"/><Relationship Id="rId9" Type="http://schemas.openxmlformats.org/officeDocument/2006/relationships/tags" Target="../tags/tag1510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1637.xml"/><Relationship Id="rId18" Type="http://schemas.openxmlformats.org/officeDocument/2006/relationships/tags" Target="../tags/tag1642.xml"/><Relationship Id="rId26" Type="http://schemas.openxmlformats.org/officeDocument/2006/relationships/tags" Target="../tags/tag1650.xml"/><Relationship Id="rId39" Type="http://schemas.openxmlformats.org/officeDocument/2006/relationships/tags" Target="../tags/tag1663.xml"/><Relationship Id="rId21" Type="http://schemas.openxmlformats.org/officeDocument/2006/relationships/tags" Target="../tags/tag1645.xml"/><Relationship Id="rId34" Type="http://schemas.openxmlformats.org/officeDocument/2006/relationships/tags" Target="../tags/tag1658.xml"/><Relationship Id="rId42" Type="http://schemas.openxmlformats.org/officeDocument/2006/relationships/tags" Target="../tags/tag1666.xml"/><Relationship Id="rId47" Type="http://schemas.openxmlformats.org/officeDocument/2006/relationships/tags" Target="../tags/tag1671.xml"/><Relationship Id="rId50" Type="http://schemas.openxmlformats.org/officeDocument/2006/relationships/tags" Target="../tags/tag1674.xml"/><Relationship Id="rId55" Type="http://schemas.openxmlformats.org/officeDocument/2006/relationships/tags" Target="../tags/tag1679.xml"/><Relationship Id="rId7" Type="http://schemas.openxmlformats.org/officeDocument/2006/relationships/tags" Target="../tags/tag1631.xml"/><Relationship Id="rId2" Type="http://schemas.openxmlformats.org/officeDocument/2006/relationships/tags" Target="../tags/tag1626.xml"/><Relationship Id="rId16" Type="http://schemas.openxmlformats.org/officeDocument/2006/relationships/tags" Target="../tags/tag1640.xml"/><Relationship Id="rId29" Type="http://schemas.openxmlformats.org/officeDocument/2006/relationships/tags" Target="../tags/tag1653.xml"/><Relationship Id="rId11" Type="http://schemas.openxmlformats.org/officeDocument/2006/relationships/tags" Target="../tags/tag1635.xml"/><Relationship Id="rId24" Type="http://schemas.openxmlformats.org/officeDocument/2006/relationships/tags" Target="../tags/tag1648.xml"/><Relationship Id="rId32" Type="http://schemas.openxmlformats.org/officeDocument/2006/relationships/tags" Target="../tags/tag1656.xml"/><Relationship Id="rId37" Type="http://schemas.openxmlformats.org/officeDocument/2006/relationships/tags" Target="../tags/tag1661.xml"/><Relationship Id="rId40" Type="http://schemas.openxmlformats.org/officeDocument/2006/relationships/tags" Target="../tags/tag1664.xml"/><Relationship Id="rId45" Type="http://schemas.openxmlformats.org/officeDocument/2006/relationships/tags" Target="../tags/tag1669.xml"/><Relationship Id="rId53" Type="http://schemas.openxmlformats.org/officeDocument/2006/relationships/tags" Target="../tags/tag1677.xml"/><Relationship Id="rId58" Type="http://schemas.openxmlformats.org/officeDocument/2006/relationships/slideLayout" Target="../slideLayouts/slideLayout2.xml"/><Relationship Id="rId5" Type="http://schemas.openxmlformats.org/officeDocument/2006/relationships/tags" Target="../tags/tag1629.xml"/><Relationship Id="rId61" Type="http://schemas.openxmlformats.org/officeDocument/2006/relationships/image" Target="../media/image1.emf"/><Relationship Id="rId19" Type="http://schemas.openxmlformats.org/officeDocument/2006/relationships/tags" Target="../tags/tag1643.xml"/><Relationship Id="rId14" Type="http://schemas.openxmlformats.org/officeDocument/2006/relationships/tags" Target="../tags/tag1638.xml"/><Relationship Id="rId22" Type="http://schemas.openxmlformats.org/officeDocument/2006/relationships/tags" Target="../tags/tag1646.xml"/><Relationship Id="rId27" Type="http://schemas.openxmlformats.org/officeDocument/2006/relationships/tags" Target="../tags/tag1651.xml"/><Relationship Id="rId30" Type="http://schemas.openxmlformats.org/officeDocument/2006/relationships/tags" Target="../tags/tag1654.xml"/><Relationship Id="rId35" Type="http://schemas.openxmlformats.org/officeDocument/2006/relationships/tags" Target="../tags/tag1659.xml"/><Relationship Id="rId43" Type="http://schemas.openxmlformats.org/officeDocument/2006/relationships/tags" Target="../tags/tag1667.xml"/><Relationship Id="rId48" Type="http://schemas.openxmlformats.org/officeDocument/2006/relationships/tags" Target="../tags/tag1672.xml"/><Relationship Id="rId56" Type="http://schemas.openxmlformats.org/officeDocument/2006/relationships/tags" Target="../tags/tag1680.xml"/><Relationship Id="rId8" Type="http://schemas.openxmlformats.org/officeDocument/2006/relationships/tags" Target="../tags/tag1632.xml"/><Relationship Id="rId51" Type="http://schemas.openxmlformats.org/officeDocument/2006/relationships/tags" Target="../tags/tag1675.xml"/><Relationship Id="rId3" Type="http://schemas.openxmlformats.org/officeDocument/2006/relationships/tags" Target="../tags/tag1627.xml"/><Relationship Id="rId12" Type="http://schemas.openxmlformats.org/officeDocument/2006/relationships/tags" Target="../tags/tag1636.xml"/><Relationship Id="rId17" Type="http://schemas.openxmlformats.org/officeDocument/2006/relationships/tags" Target="../tags/tag1641.xml"/><Relationship Id="rId25" Type="http://schemas.openxmlformats.org/officeDocument/2006/relationships/tags" Target="../tags/tag1649.xml"/><Relationship Id="rId33" Type="http://schemas.openxmlformats.org/officeDocument/2006/relationships/tags" Target="../tags/tag1657.xml"/><Relationship Id="rId38" Type="http://schemas.openxmlformats.org/officeDocument/2006/relationships/tags" Target="../tags/tag1662.xml"/><Relationship Id="rId46" Type="http://schemas.openxmlformats.org/officeDocument/2006/relationships/tags" Target="../tags/tag1670.xml"/><Relationship Id="rId59" Type="http://schemas.openxmlformats.org/officeDocument/2006/relationships/notesSlide" Target="../notesSlides/notesSlide23.xml"/><Relationship Id="rId20" Type="http://schemas.openxmlformats.org/officeDocument/2006/relationships/tags" Target="../tags/tag1644.xml"/><Relationship Id="rId41" Type="http://schemas.openxmlformats.org/officeDocument/2006/relationships/tags" Target="../tags/tag1665.xml"/><Relationship Id="rId54" Type="http://schemas.openxmlformats.org/officeDocument/2006/relationships/tags" Target="../tags/tag1678.xml"/><Relationship Id="rId62" Type="http://schemas.openxmlformats.org/officeDocument/2006/relationships/chart" Target="../charts/chart23.xml"/><Relationship Id="rId1" Type="http://schemas.openxmlformats.org/officeDocument/2006/relationships/tags" Target="../tags/tag1625.xml"/><Relationship Id="rId6" Type="http://schemas.openxmlformats.org/officeDocument/2006/relationships/tags" Target="../tags/tag1630.xml"/><Relationship Id="rId15" Type="http://schemas.openxmlformats.org/officeDocument/2006/relationships/tags" Target="../tags/tag1639.xml"/><Relationship Id="rId23" Type="http://schemas.openxmlformats.org/officeDocument/2006/relationships/tags" Target="../tags/tag1647.xml"/><Relationship Id="rId28" Type="http://schemas.openxmlformats.org/officeDocument/2006/relationships/tags" Target="../tags/tag1652.xml"/><Relationship Id="rId36" Type="http://schemas.openxmlformats.org/officeDocument/2006/relationships/tags" Target="../tags/tag1660.xml"/><Relationship Id="rId49" Type="http://schemas.openxmlformats.org/officeDocument/2006/relationships/tags" Target="../tags/tag1673.xml"/><Relationship Id="rId57" Type="http://schemas.openxmlformats.org/officeDocument/2006/relationships/tags" Target="../tags/tag1681.xml"/><Relationship Id="rId10" Type="http://schemas.openxmlformats.org/officeDocument/2006/relationships/tags" Target="../tags/tag1634.xml"/><Relationship Id="rId31" Type="http://schemas.openxmlformats.org/officeDocument/2006/relationships/tags" Target="../tags/tag1655.xml"/><Relationship Id="rId44" Type="http://schemas.openxmlformats.org/officeDocument/2006/relationships/tags" Target="../tags/tag1668.xml"/><Relationship Id="rId52" Type="http://schemas.openxmlformats.org/officeDocument/2006/relationships/tags" Target="../tags/tag1676.xml"/><Relationship Id="rId60" Type="http://schemas.openxmlformats.org/officeDocument/2006/relationships/oleObject" Target="../embeddings/oleObject26.bin"/><Relationship Id="rId4" Type="http://schemas.openxmlformats.org/officeDocument/2006/relationships/tags" Target="../tags/tag1628.xml"/><Relationship Id="rId9" Type="http://schemas.openxmlformats.org/officeDocument/2006/relationships/tags" Target="../tags/tag1633.xml"/></Relationships>
</file>

<file path=ppt/slides/_rels/slide26.xml.rels><?xml version="1.0" encoding="UTF-8" standalone="yes"?>
<Relationships xmlns="http://schemas.openxmlformats.org/package/2006/relationships"><Relationship Id="rId26" Type="http://schemas.openxmlformats.org/officeDocument/2006/relationships/tags" Target="../tags/tag1707.xml"/><Relationship Id="rId21" Type="http://schemas.openxmlformats.org/officeDocument/2006/relationships/tags" Target="../tags/tag1702.xml"/><Relationship Id="rId42" Type="http://schemas.openxmlformats.org/officeDocument/2006/relationships/tags" Target="../tags/tag1723.xml"/><Relationship Id="rId47" Type="http://schemas.openxmlformats.org/officeDocument/2006/relationships/tags" Target="../tags/tag1728.xml"/><Relationship Id="rId63" Type="http://schemas.openxmlformats.org/officeDocument/2006/relationships/tags" Target="../tags/tag1744.xml"/><Relationship Id="rId68" Type="http://schemas.openxmlformats.org/officeDocument/2006/relationships/tags" Target="../tags/tag1749.xml"/><Relationship Id="rId84" Type="http://schemas.openxmlformats.org/officeDocument/2006/relationships/tags" Target="../tags/tag1765.xml"/><Relationship Id="rId89" Type="http://schemas.openxmlformats.org/officeDocument/2006/relationships/image" Target="../media/image1.emf"/><Relationship Id="rId16" Type="http://schemas.openxmlformats.org/officeDocument/2006/relationships/tags" Target="../tags/tag1697.xml"/><Relationship Id="rId11" Type="http://schemas.openxmlformats.org/officeDocument/2006/relationships/tags" Target="../tags/tag1692.xml"/><Relationship Id="rId32" Type="http://schemas.openxmlformats.org/officeDocument/2006/relationships/tags" Target="../tags/tag1713.xml"/><Relationship Id="rId37" Type="http://schemas.openxmlformats.org/officeDocument/2006/relationships/tags" Target="../tags/tag1718.xml"/><Relationship Id="rId53" Type="http://schemas.openxmlformats.org/officeDocument/2006/relationships/tags" Target="../tags/tag1734.xml"/><Relationship Id="rId58" Type="http://schemas.openxmlformats.org/officeDocument/2006/relationships/tags" Target="../tags/tag1739.xml"/><Relationship Id="rId74" Type="http://schemas.openxmlformats.org/officeDocument/2006/relationships/tags" Target="../tags/tag1755.xml"/><Relationship Id="rId79" Type="http://schemas.openxmlformats.org/officeDocument/2006/relationships/tags" Target="../tags/tag1760.xml"/><Relationship Id="rId5" Type="http://schemas.openxmlformats.org/officeDocument/2006/relationships/tags" Target="../tags/tag1686.xml"/><Relationship Id="rId90" Type="http://schemas.openxmlformats.org/officeDocument/2006/relationships/chart" Target="../charts/chart24.xml"/><Relationship Id="rId14" Type="http://schemas.openxmlformats.org/officeDocument/2006/relationships/tags" Target="../tags/tag1695.xml"/><Relationship Id="rId22" Type="http://schemas.openxmlformats.org/officeDocument/2006/relationships/tags" Target="../tags/tag1703.xml"/><Relationship Id="rId27" Type="http://schemas.openxmlformats.org/officeDocument/2006/relationships/tags" Target="../tags/tag1708.xml"/><Relationship Id="rId30" Type="http://schemas.openxmlformats.org/officeDocument/2006/relationships/tags" Target="../tags/tag1711.xml"/><Relationship Id="rId35" Type="http://schemas.openxmlformats.org/officeDocument/2006/relationships/tags" Target="../tags/tag1716.xml"/><Relationship Id="rId43" Type="http://schemas.openxmlformats.org/officeDocument/2006/relationships/tags" Target="../tags/tag1724.xml"/><Relationship Id="rId48" Type="http://schemas.openxmlformats.org/officeDocument/2006/relationships/tags" Target="../tags/tag1729.xml"/><Relationship Id="rId56" Type="http://schemas.openxmlformats.org/officeDocument/2006/relationships/tags" Target="../tags/tag1737.xml"/><Relationship Id="rId64" Type="http://schemas.openxmlformats.org/officeDocument/2006/relationships/tags" Target="../tags/tag1745.xml"/><Relationship Id="rId69" Type="http://schemas.openxmlformats.org/officeDocument/2006/relationships/tags" Target="../tags/tag1750.xml"/><Relationship Id="rId77" Type="http://schemas.openxmlformats.org/officeDocument/2006/relationships/tags" Target="../tags/tag1758.xml"/><Relationship Id="rId8" Type="http://schemas.openxmlformats.org/officeDocument/2006/relationships/tags" Target="../tags/tag1689.xml"/><Relationship Id="rId51" Type="http://schemas.openxmlformats.org/officeDocument/2006/relationships/tags" Target="../tags/tag1732.xml"/><Relationship Id="rId72" Type="http://schemas.openxmlformats.org/officeDocument/2006/relationships/tags" Target="../tags/tag1753.xml"/><Relationship Id="rId80" Type="http://schemas.openxmlformats.org/officeDocument/2006/relationships/tags" Target="../tags/tag1761.xml"/><Relationship Id="rId85" Type="http://schemas.openxmlformats.org/officeDocument/2006/relationships/tags" Target="../tags/tag1766.xml"/><Relationship Id="rId3" Type="http://schemas.openxmlformats.org/officeDocument/2006/relationships/tags" Target="../tags/tag1684.xml"/><Relationship Id="rId12" Type="http://schemas.openxmlformats.org/officeDocument/2006/relationships/tags" Target="../tags/tag1693.xml"/><Relationship Id="rId17" Type="http://schemas.openxmlformats.org/officeDocument/2006/relationships/tags" Target="../tags/tag1698.xml"/><Relationship Id="rId25" Type="http://schemas.openxmlformats.org/officeDocument/2006/relationships/tags" Target="../tags/tag1706.xml"/><Relationship Id="rId33" Type="http://schemas.openxmlformats.org/officeDocument/2006/relationships/tags" Target="../tags/tag1714.xml"/><Relationship Id="rId38" Type="http://schemas.openxmlformats.org/officeDocument/2006/relationships/tags" Target="../tags/tag1719.xml"/><Relationship Id="rId46" Type="http://schemas.openxmlformats.org/officeDocument/2006/relationships/tags" Target="../tags/tag1727.xml"/><Relationship Id="rId59" Type="http://schemas.openxmlformats.org/officeDocument/2006/relationships/tags" Target="../tags/tag1740.xml"/><Relationship Id="rId67" Type="http://schemas.openxmlformats.org/officeDocument/2006/relationships/tags" Target="../tags/tag1748.xml"/><Relationship Id="rId20" Type="http://schemas.openxmlformats.org/officeDocument/2006/relationships/tags" Target="../tags/tag1701.xml"/><Relationship Id="rId41" Type="http://schemas.openxmlformats.org/officeDocument/2006/relationships/tags" Target="../tags/tag1722.xml"/><Relationship Id="rId54" Type="http://schemas.openxmlformats.org/officeDocument/2006/relationships/tags" Target="../tags/tag1735.xml"/><Relationship Id="rId62" Type="http://schemas.openxmlformats.org/officeDocument/2006/relationships/tags" Target="../tags/tag1743.xml"/><Relationship Id="rId70" Type="http://schemas.openxmlformats.org/officeDocument/2006/relationships/tags" Target="../tags/tag1751.xml"/><Relationship Id="rId75" Type="http://schemas.openxmlformats.org/officeDocument/2006/relationships/tags" Target="../tags/tag1756.xml"/><Relationship Id="rId83" Type="http://schemas.openxmlformats.org/officeDocument/2006/relationships/tags" Target="../tags/tag1764.xml"/><Relationship Id="rId88" Type="http://schemas.openxmlformats.org/officeDocument/2006/relationships/oleObject" Target="../embeddings/oleObject27.bin"/><Relationship Id="rId1" Type="http://schemas.openxmlformats.org/officeDocument/2006/relationships/tags" Target="../tags/tag1682.xml"/><Relationship Id="rId6" Type="http://schemas.openxmlformats.org/officeDocument/2006/relationships/tags" Target="../tags/tag1687.xml"/><Relationship Id="rId15" Type="http://schemas.openxmlformats.org/officeDocument/2006/relationships/tags" Target="../tags/tag1696.xml"/><Relationship Id="rId23" Type="http://schemas.openxmlformats.org/officeDocument/2006/relationships/tags" Target="../tags/tag1704.xml"/><Relationship Id="rId28" Type="http://schemas.openxmlformats.org/officeDocument/2006/relationships/tags" Target="../tags/tag1709.xml"/><Relationship Id="rId36" Type="http://schemas.openxmlformats.org/officeDocument/2006/relationships/tags" Target="../tags/tag1717.xml"/><Relationship Id="rId49" Type="http://schemas.openxmlformats.org/officeDocument/2006/relationships/tags" Target="../tags/tag1730.xml"/><Relationship Id="rId57" Type="http://schemas.openxmlformats.org/officeDocument/2006/relationships/tags" Target="../tags/tag1738.xml"/><Relationship Id="rId10" Type="http://schemas.openxmlformats.org/officeDocument/2006/relationships/tags" Target="../tags/tag1691.xml"/><Relationship Id="rId31" Type="http://schemas.openxmlformats.org/officeDocument/2006/relationships/tags" Target="../tags/tag1712.xml"/><Relationship Id="rId44" Type="http://schemas.openxmlformats.org/officeDocument/2006/relationships/tags" Target="../tags/tag1725.xml"/><Relationship Id="rId52" Type="http://schemas.openxmlformats.org/officeDocument/2006/relationships/tags" Target="../tags/tag1733.xml"/><Relationship Id="rId60" Type="http://schemas.openxmlformats.org/officeDocument/2006/relationships/tags" Target="../tags/tag1741.xml"/><Relationship Id="rId65" Type="http://schemas.openxmlformats.org/officeDocument/2006/relationships/tags" Target="../tags/tag1746.xml"/><Relationship Id="rId73" Type="http://schemas.openxmlformats.org/officeDocument/2006/relationships/tags" Target="../tags/tag1754.xml"/><Relationship Id="rId78" Type="http://schemas.openxmlformats.org/officeDocument/2006/relationships/tags" Target="../tags/tag1759.xml"/><Relationship Id="rId81" Type="http://schemas.openxmlformats.org/officeDocument/2006/relationships/tags" Target="../tags/tag1762.xml"/><Relationship Id="rId86" Type="http://schemas.openxmlformats.org/officeDocument/2006/relationships/slideLayout" Target="../slideLayouts/slideLayout2.xml"/><Relationship Id="rId4" Type="http://schemas.openxmlformats.org/officeDocument/2006/relationships/tags" Target="../tags/tag1685.xml"/><Relationship Id="rId9" Type="http://schemas.openxmlformats.org/officeDocument/2006/relationships/tags" Target="../tags/tag1690.xml"/><Relationship Id="rId13" Type="http://schemas.openxmlformats.org/officeDocument/2006/relationships/tags" Target="../tags/tag1694.xml"/><Relationship Id="rId18" Type="http://schemas.openxmlformats.org/officeDocument/2006/relationships/tags" Target="../tags/tag1699.xml"/><Relationship Id="rId39" Type="http://schemas.openxmlformats.org/officeDocument/2006/relationships/tags" Target="../tags/tag1720.xml"/><Relationship Id="rId34" Type="http://schemas.openxmlformats.org/officeDocument/2006/relationships/tags" Target="../tags/tag1715.xml"/><Relationship Id="rId50" Type="http://schemas.openxmlformats.org/officeDocument/2006/relationships/tags" Target="../tags/tag1731.xml"/><Relationship Id="rId55" Type="http://schemas.openxmlformats.org/officeDocument/2006/relationships/tags" Target="../tags/tag1736.xml"/><Relationship Id="rId76" Type="http://schemas.openxmlformats.org/officeDocument/2006/relationships/tags" Target="../tags/tag1757.xml"/><Relationship Id="rId7" Type="http://schemas.openxmlformats.org/officeDocument/2006/relationships/tags" Target="../tags/tag1688.xml"/><Relationship Id="rId71" Type="http://schemas.openxmlformats.org/officeDocument/2006/relationships/tags" Target="../tags/tag1752.xml"/><Relationship Id="rId2" Type="http://schemas.openxmlformats.org/officeDocument/2006/relationships/tags" Target="../tags/tag1683.xml"/><Relationship Id="rId29" Type="http://schemas.openxmlformats.org/officeDocument/2006/relationships/tags" Target="../tags/tag1710.xml"/><Relationship Id="rId24" Type="http://schemas.openxmlformats.org/officeDocument/2006/relationships/tags" Target="../tags/tag1705.xml"/><Relationship Id="rId40" Type="http://schemas.openxmlformats.org/officeDocument/2006/relationships/tags" Target="../tags/tag1721.xml"/><Relationship Id="rId45" Type="http://schemas.openxmlformats.org/officeDocument/2006/relationships/tags" Target="../tags/tag1726.xml"/><Relationship Id="rId66" Type="http://schemas.openxmlformats.org/officeDocument/2006/relationships/tags" Target="../tags/tag1747.xml"/><Relationship Id="rId87" Type="http://schemas.openxmlformats.org/officeDocument/2006/relationships/notesSlide" Target="../notesSlides/notesSlide24.xml"/><Relationship Id="rId61" Type="http://schemas.openxmlformats.org/officeDocument/2006/relationships/tags" Target="../tags/tag1742.xml"/><Relationship Id="rId82" Type="http://schemas.openxmlformats.org/officeDocument/2006/relationships/tags" Target="../tags/tag1763.xml"/><Relationship Id="rId19" Type="http://schemas.openxmlformats.org/officeDocument/2006/relationships/tags" Target="../tags/tag1700.xml"/></Relationships>
</file>

<file path=ppt/slides/_rels/slide27.xml.rels><?xml version="1.0" encoding="UTF-8" standalone="yes"?>
<Relationships xmlns="http://schemas.openxmlformats.org/package/2006/relationships"><Relationship Id="rId26" Type="http://schemas.openxmlformats.org/officeDocument/2006/relationships/tags" Target="../tags/tag1792.xml"/><Relationship Id="rId21" Type="http://schemas.openxmlformats.org/officeDocument/2006/relationships/tags" Target="../tags/tag1787.xml"/><Relationship Id="rId42" Type="http://schemas.openxmlformats.org/officeDocument/2006/relationships/tags" Target="../tags/tag1808.xml"/><Relationship Id="rId47" Type="http://schemas.openxmlformats.org/officeDocument/2006/relationships/tags" Target="../tags/tag1813.xml"/><Relationship Id="rId63" Type="http://schemas.openxmlformats.org/officeDocument/2006/relationships/tags" Target="../tags/tag1829.xml"/><Relationship Id="rId68" Type="http://schemas.openxmlformats.org/officeDocument/2006/relationships/tags" Target="../tags/tag1834.xml"/><Relationship Id="rId84" Type="http://schemas.openxmlformats.org/officeDocument/2006/relationships/tags" Target="../tags/tag1850.xml"/><Relationship Id="rId89" Type="http://schemas.openxmlformats.org/officeDocument/2006/relationships/tags" Target="../tags/tag1855.xml"/><Relationship Id="rId16" Type="http://schemas.openxmlformats.org/officeDocument/2006/relationships/tags" Target="../tags/tag1782.xml"/><Relationship Id="rId11" Type="http://schemas.openxmlformats.org/officeDocument/2006/relationships/tags" Target="../tags/tag1777.xml"/><Relationship Id="rId32" Type="http://schemas.openxmlformats.org/officeDocument/2006/relationships/tags" Target="../tags/tag1798.xml"/><Relationship Id="rId37" Type="http://schemas.openxmlformats.org/officeDocument/2006/relationships/tags" Target="../tags/tag1803.xml"/><Relationship Id="rId53" Type="http://schemas.openxmlformats.org/officeDocument/2006/relationships/tags" Target="../tags/tag1819.xml"/><Relationship Id="rId58" Type="http://schemas.openxmlformats.org/officeDocument/2006/relationships/tags" Target="../tags/tag1824.xml"/><Relationship Id="rId74" Type="http://schemas.openxmlformats.org/officeDocument/2006/relationships/tags" Target="../tags/tag1840.xml"/><Relationship Id="rId79" Type="http://schemas.openxmlformats.org/officeDocument/2006/relationships/tags" Target="../tags/tag1845.xml"/><Relationship Id="rId5" Type="http://schemas.openxmlformats.org/officeDocument/2006/relationships/tags" Target="../tags/tag1771.xml"/><Relationship Id="rId90" Type="http://schemas.openxmlformats.org/officeDocument/2006/relationships/tags" Target="../tags/tag1856.xml"/><Relationship Id="rId95" Type="http://schemas.openxmlformats.org/officeDocument/2006/relationships/tags" Target="../tags/tag1861.xml"/><Relationship Id="rId22" Type="http://schemas.openxmlformats.org/officeDocument/2006/relationships/tags" Target="../tags/tag1788.xml"/><Relationship Id="rId27" Type="http://schemas.openxmlformats.org/officeDocument/2006/relationships/tags" Target="../tags/tag1793.xml"/><Relationship Id="rId43" Type="http://schemas.openxmlformats.org/officeDocument/2006/relationships/tags" Target="../tags/tag1809.xml"/><Relationship Id="rId48" Type="http://schemas.openxmlformats.org/officeDocument/2006/relationships/tags" Target="../tags/tag1814.xml"/><Relationship Id="rId64" Type="http://schemas.openxmlformats.org/officeDocument/2006/relationships/tags" Target="../tags/tag1830.xml"/><Relationship Id="rId69" Type="http://schemas.openxmlformats.org/officeDocument/2006/relationships/tags" Target="../tags/tag1835.xml"/><Relationship Id="rId80" Type="http://schemas.openxmlformats.org/officeDocument/2006/relationships/tags" Target="../tags/tag1846.xml"/><Relationship Id="rId85" Type="http://schemas.openxmlformats.org/officeDocument/2006/relationships/tags" Target="../tags/tag1851.xml"/><Relationship Id="rId3" Type="http://schemas.openxmlformats.org/officeDocument/2006/relationships/tags" Target="../tags/tag1769.xml"/><Relationship Id="rId12" Type="http://schemas.openxmlformats.org/officeDocument/2006/relationships/tags" Target="../tags/tag1778.xml"/><Relationship Id="rId17" Type="http://schemas.openxmlformats.org/officeDocument/2006/relationships/tags" Target="../tags/tag1783.xml"/><Relationship Id="rId25" Type="http://schemas.openxmlformats.org/officeDocument/2006/relationships/tags" Target="../tags/tag1791.xml"/><Relationship Id="rId33" Type="http://schemas.openxmlformats.org/officeDocument/2006/relationships/tags" Target="../tags/tag1799.xml"/><Relationship Id="rId38" Type="http://schemas.openxmlformats.org/officeDocument/2006/relationships/tags" Target="../tags/tag1804.xml"/><Relationship Id="rId46" Type="http://schemas.openxmlformats.org/officeDocument/2006/relationships/tags" Target="../tags/tag1812.xml"/><Relationship Id="rId59" Type="http://schemas.openxmlformats.org/officeDocument/2006/relationships/tags" Target="../tags/tag1825.xml"/><Relationship Id="rId67" Type="http://schemas.openxmlformats.org/officeDocument/2006/relationships/tags" Target="../tags/tag1833.xml"/><Relationship Id="rId20" Type="http://schemas.openxmlformats.org/officeDocument/2006/relationships/tags" Target="../tags/tag1786.xml"/><Relationship Id="rId41" Type="http://schemas.openxmlformats.org/officeDocument/2006/relationships/tags" Target="../tags/tag1807.xml"/><Relationship Id="rId54" Type="http://schemas.openxmlformats.org/officeDocument/2006/relationships/tags" Target="../tags/tag1820.xml"/><Relationship Id="rId62" Type="http://schemas.openxmlformats.org/officeDocument/2006/relationships/tags" Target="../tags/tag1828.xml"/><Relationship Id="rId70" Type="http://schemas.openxmlformats.org/officeDocument/2006/relationships/tags" Target="../tags/tag1836.xml"/><Relationship Id="rId75" Type="http://schemas.openxmlformats.org/officeDocument/2006/relationships/tags" Target="../tags/tag1841.xml"/><Relationship Id="rId83" Type="http://schemas.openxmlformats.org/officeDocument/2006/relationships/tags" Target="../tags/tag1849.xml"/><Relationship Id="rId88" Type="http://schemas.openxmlformats.org/officeDocument/2006/relationships/tags" Target="../tags/tag1854.xml"/><Relationship Id="rId91" Type="http://schemas.openxmlformats.org/officeDocument/2006/relationships/tags" Target="../tags/tag1857.xml"/><Relationship Id="rId96" Type="http://schemas.openxmlformats.org/officeDocument/2006/relationships/slideLayout" Target="../slideLayouts/slideLayout2.xml"/><Relationship Id="rId1" Type="http://schemas.openxmlformats.org/officeDocument/2006/relationships/tags" Target="../tags/tag1767.xml"/><Relationship Id="rId6" Type="http://schemas.openxmlformats.org/officeDocument/2006/relationships/tags" Target="../tags/tag1772.xml"/><Relationship Id="rId15" Type="http://schemas.openxmlformats.org/officeDocument/2006/relationships/tags" Target="../tags/tag1781.xml"/><Relationship Id="rId23" Type="http://schemas.openxmlformats.org/officeDocument/2006/relationships/tags" Target="../tags/tag1789.xml"/><Relationship Id="rId28" Type="http://schemas.openxmlformats.org/officeDocument/2006/relationships/tags" Target="../tags/tag1794.xml"/><Relationship Id="rId36" Type="http://schemas.openxmlformats.org/officeDocument/2006/relationships/tags" Target="../tags/tag1802.xml"/><Relationship Id="rId49" Type="http://schemas.openxmlformats.org/officeDocument/2006/relationships/tags" Target="../tags/tag1815.xml"/><Relationship Id="rId57" Type="http://schemas.openxmlformats.org/officeDocument/2006/relationships/tags" Target="../tags/tag1823.xml"/><Relationship Id="rId10" Type="http://schemas.openxmlformats.org/officeDocument/2006/relationships/tags" Target="../tags/tag1776.xml"/><Relationship Id="rId31" Type="http://schemas.openxmlformats.org/officeDocument/2006/relationships/tags" Target="../tags/tag1797.xml"/><Relationship Id="rId44" Type="http://schemas.openxmlformats.org/officeDocument/2006/relationships/tags" Target="../tags/tag1810.xml"/><Relationship Id="rId52" Type="http://schemas.openxmlformats.org/officeDocument/2006/relationships/tags" Target="../tags/tag1818.xml"/><Relationship Id="rId60" Type="http://schemas.openxmlformats.org/officeDocument/2006/relationships/tags" Target="../tags/tag1826.xml"/><Relationship Id="rId65" Type="http://schemas.openxmlformats.org/officeDocument/2006/relationships/tags" Target="../tags/tag1831.xml"/><Relationship Id="rId73" Type="http://schemas.openxmlformats.org/officeDocument/2006/relationships/tags" Target="../tags/tag1839.xml"/><Relationship Id="rId78" Type="http://schemas.openxmlformats.org/officeDocument/2006/relationships/tags" Target="../tags/tag1844.xml"/><Relationship Id="rId81" Type="http://schemas.openxmlformats.org/officeDocument/2006/relationships/tags" Target="../tags/tag1847.xml"/><Relationship Id="rId86" Type="http://schemas.openxmlformats.org/officeDocument/2006/relationships/tags" Target="../tags/tag1852.xml"/><Relationship Id="rId94" Type="http://schemas.openxmlformats.org/officeDocument/2006/relationships/tags" Target="../tags/tag1860.xml"/><Relationship Id="rId99" Type="http://schemas.openxmlformats.org/officeDocument/2006/relationships/image" Target="../media/image1.emf"/><Relationship Id="rId4" Type="http://schemas.openxmlformats.org/officeDocument/2006/relationships/tags" Target="../tags/tag1770.xml"/><Relationship Id="rId9" Type="http://schemas.openxmlformats.org/officeDocument/2006/relationships/tags" Target="../tags/tag1775.xml"/><Relationship Id="rId13" Type="http://schemas.openxmlformats.org/officeDocument/2006/relationships/tags" Target="../tags/tag1779.xml"/><Relationship Id="rId18" Type="http://schemas.openxmlformats.org/officeDocument/2006/relationships/tags" Target="../tags/tag1784.xml"/><Relationship Id="rId39" Type="http://schemas.openxmlformats.org/officeDocument/2006/relationships/tags" Target="../tags/tag1805.xml"/><Relationship Id="rId34" Type="http://schemas.openxmlformats.org/officeDocument/2006/relationships/tags" Target="../tags/tag1800.xml"/><Relationship Id="rId50" Type="http://schemas.openxmlformats.org/officeDocument/2006/relationships/tags" Target="../tags/tag1816.xml"/><Relationship Id="rId55" Type="http://schemas.openxmlformats.org/officeDocument/2006/relationships/tags" Target="../tags/tag1821.xml"/><Relationship Id="rId76" Type="http://schemas.openxmlformats.org/officeDocument/2006/relationships/tags" Target="../tags/tag1842.xml"/><Relationship Id="rId97" Type="http://schemas.openxmlformats.org/officeDocument/2006/relationships/notesSlide" Target="../notesSlides/notesSlide25.xml"/><Relationship Id="rId7" Type="http://schemas.openxmlformats.org/officeDocument/2006/relationships/tags" Target="../tags/tag1773.xml"/><Relationship Id="rId71" Type="http://schemas.openxmlformats.org/officeDocument/2006/relationships/tags" Target="../tags/tag1837.xml"/><Relationship Id="rId92" Type="http://schemas.openxmlformats.org/officeDocument/2006/relationships/tags" Target="../tags/tag1858.xml"/><Relationship Id="rId2" Type="http://schemas.openxmlformats.org/officeDocument/2006/relationships/tags" Target="../tags/tag1768.xml"/><Relationship Id="rId29" Type="http://schemas.openxmlformats.org/officeDocument/2006/relationships/tags" Target="../tags/tag1795.xml"/><Relationship Id="rId24" Type="http://schemas.openxmlformats.org/officeDocument/2006/relationships/tags" Target="../tags/tag1790.xml"/><Relationship Id="rId40" Type="http://schemas.openxmlformats.org/officeDocument/2006/relationships/tags" Target="../tags/tag1806.xml"/><Relationship Id="rId45" Type="http://schemas.openxmlformats.org/officeDocument/2006/relationships/tags" Target="../tags/tag1811.xml"/><Relationship Id="rId66" Type="http://schemas.openxmlformats.org/officeDocument/2006/relationships/tags" Target="../tags/tag1832.xml"/><Relationship Id="rId87" Type="http://schemas.openxmlformats.org/officeDocument/2006/relationships/tags" Target="../tags/tag1853.xml"/><Relationship Id="rId61" Type="http://schemas.openxmlformats.org/officeDocument/2006/relationships/tags" Target="../tags/tag1827.xml"/><Relationship Id="rId82" Type="http://schemas.openxmlformats.org/officeDocument/2006/relationships/tags" Target="../tags/tag1848.xml"/><Relationship Id="rId19" Type="http://schemas.openxmlformats.org/officeDocument/2006/relationships/tags" Target="../tags/tag1785.xml"/><Relationship Id="rId14" Type="http://schemas.openxmlformats.org/officeDocument/2006/relationships/tags" Target="../tags/tag1780.xml"/><Relationship Id="rId30" Type="http://schemas.openxmlformats.org/officeDocument/2006/relationships/tags" Target="../tags/tag1796.xml"/><Relationship Id="rId35" Type="http://schemas.openxmlformats.org/officeDocument/2006/relationships/tags" Target="../tags/tag1801.xml"/><Relationship Id="rId56" Type="http://schemas.openxmlformats.org/officeDocument/2006/relationships/tags" Target="../tags/tag1822.xml"/><Relationship Id="rId77" Type="http://schemas.openxmlformats.org/officeDocument/2006/relationships/tags" Target="../tags/tag1843.xml"/><Relationship Id="rId100" Type="http://schemas.openxmlformats.org/officeDocument/2006/relationships/chart" Target="../charts/chart25.xml"/><Relationship Id="rId8" Type="http://schemas.openxmlformats.org/officeDocument/2006/relationships/tags" Target="../tags/tag1774.xml"/><Relationship Id="rId51" Type="http://schemas.openxmlformats.org/officeDocument/2006/relationships/tags" Target="../tags/tag1817.xml"/><Relationship Id="rId72" Type="http://schemas.openxmlformats.org/officeDocument/2006/relationships/tags" Target="../tags/tag1838.xml"/><Relationship Id="rId93" Type="http://schemas.openxmlformats.org/officeDocument/2006/relationships/tags" Target="../tags/tag1859.xml"/><Relationship Id="rId98" Type="http://schemas.openxmlformats.org/officeDocument/2006/relationships/oleObject" Target="../embeddings/oleObject28.bin"/></Relationships>
</file>

<file path=ppt/slides/_rels/slide28.xml.rels><?xml version="1.0" encoding="UTF-8" standalone="yes"?>
<Relationships xmlns="http://schemas.openxmlformats.org/package/2006/relationships"><Relationship Id="rId26" Type="http://schemas.openxmlformats.org/officeDocument/2006/relationships/tags" Target="../tags/tag1887.xml"/><Relationship Id="rId21" Type="http://schemas.openxmlformats.org/officeDocument/2006/relationships/tags" Target="../tags/tag1882.xml"/><Relationship Id="rId42" Type="http://schemas.openxmlformats.org/officeDocument/2006/relationships/tags" Target="../tags/tag1903.xml"/><Relationship Id="rId47" Type="http://schemas.openxmlformats.org/officeDocument/2006/relationships/tags" Target="../tags/tag1908.xml"/><Relationship Id="rId63" Type="http://schemas.openxmlformats.org/officeDocument/2006/relationships/tags" Target="../tags/tag1924.xml"/><Relationship Id="rId68" Type="http://schemas.openxmlformats.org/officeDocument/2006/relationships/tags" Target="../tags/tag1929.xml"/><Relationship Id="rId84" Type="http://schemas.openxmlformats.org/officeDocument/2006/relationships/tags" Target="../tags/tag1945.xml"/><Relationship Id="rId89" Type="http://schemas.openxmlformats.org/officeDocument/2006/relationships/tags" Target="../tags/tag1950.xml"/><Relationship Id="rId16" Type="http://schemas.openxmlformats.org/officeDocument/2006/relationships/tags" Target="../tags/tag1877.xml"/><Relationship Id="rId11" Type="http://schemas.openxmlformats.org/officeDocument/2006/relationships/tags" Target="../tags/tag1872.xml"/><Relationship Id="rId32" Type="http://schemas.openxmlformats.org/officeDocument/2006/relationships/tags" Target="../tags/tag1893.xml"/><Relationship Id="rId37" Type="http://schemas.openxmlformats.org/officeDocument/2006/relationships/tags" Target="../tags/tag1898.xml"/><Relationship Id="rId53" Type="http://schemas.openxmlformats.org/officeDocument/2006/relationships/tags" Target="../tags/tag1914.xml"/><Relationship Id="rId58" Type="http://schemas.openxmlformats.org/officeDocument/2006/relationships/tags" Target="../tags/tag1919.xml"/><Relationship Id="rId74" Type="http://schemas.openxmlformats.org/officeDocument/2006/relationships/tags" Target="../tags/tag1935.xml"/><Relationship Id="rId79" Type="http://schemas.openxmlformats.org/officeDocument/2006/relationships/tags" Target="../tags/tag1940.xml"/><Relationship Id="rId102" Type="http://schemas.openxmlformats.org/officeDocument/2006/relationships/oleObject" Target="../embeddings/oleObject29.bin"/><Relationship Id="rId5" Type="http://schemas.openxmlformats.org/officeDocument/2006/relationships/tags" Target="../tags/tag1866.xml"/><Relationship Id="rId90" Type="http://schemas.openxmlformats.org/officeDocument/2006/relationships/tags" Target="../tags/tag1951.xml"/><Relationship Id="rId95" Type="http://schemas.openxmlformats.org/officeDocument/2006/relationships/tags" Target="../tags/tag1956.xml"/><Relationship Id="rId22" Type="http://schemas.openxmlformats.org/officeDocument/2006/relationships/tags" Target="../tags/tag1883.xml"/><Relationship Id="rId27" Type="http://schemas.openxmlformats.org/officeDocument/2006/relationships/tags" Target="../tags/tag1888.xml"/><Relationship Id="rId43" Type="http://schemas.openxmlformats.org/officeDocument/2006/relationships/tags" Target="../tags/tag1904.xml"/><Relationship Id="rId48" Type="http://schemas.openxmlformats.org/officeDocument/2006/relationships/tags" Target="../tags/tag1909.xml"/><Relationship Id="rId64" Type="http://schemas.openxmlformats.org/officeDocument/2006/relationships/tags" Target="../tags/tag1925.xml"/><Relationship Id="rId69" Type="http://schemas.openxmlformats.org/officeDocument/2006/relationships/tags" Target="../tags/tag1930.xml"/><Relationship Id="rId80" Type="http://schemas.openxmlformats.org/officeDocument/2006/relationships/tags" Target="../tags/tag1941.xml"/><Relationship Id="rId85" Type="http://schemas.openxmlformats.org/officeDocument/2006/relationships/tags" Target="../tags/tag1946.xml"/><Relationship Id="rId12" Type="http://schemas.openxmlformats.org/officeDocument/2006/relationships/tags" Target="../tags/tag1873.xml"/><Relationship Id="rId17" Type="http://schemas.openxmlformats.org/officeDocument/2006/relationships/tags" Target="../tags/tag1878.xml"/><Relationship Id="rId25" Type="http://schemas.openxmlformats.org/officeDocument/2006/relationships/tags" Target="../tags/tag1886.xml"/><Relationship Id="rId33" Type="http://schemas.openxmlformats.org/officeDocument/2006/relationships/tags" Target="../tags/tag1894.xml"/><Relationship Id="rId38" Type="http://schemas.openxmlformats.org/officeDocument/2006/relationships/tags" Target="../tags/tag1899.xml"/><Relationship Id="rId46" Type="http://schemas.openxmlformats.org/officeDocument/2006/relationships/tags" Target="../tags/tag1907.xml"/><Relationship Id="rId59" Type="http://schemas.openxmlformats.org/officeDocument/2006/relationships/tags" Target="../tags/tag1920.xml"/><Relationship Id="rId67" Type="http://schemas.openxmlformats.org/officeDocument/2006/relationships/tags" Target="../tags/tag1928.xml"/><Relationship Id="rId103" Type="http://schemas.openxmlformats.org/officeDocument/2006/relationships/image" Target="../media/image1.emf"/><Relationship Id="rId20" Type="http://schemas.openxmlformats.org/officeDocument/2006/relationships/tags" Target="../tags/tag1881.xml"/><Relationship Id="rId41" Type="http://schemas.openxmlformats.org/officeDocument/2006/relationships/tags" Target="../tags/tag1902.xml"/><Relationship Id="rId54" Type="http://schemas.openxmlformats.org/officeDocument/2006/relationships/tags" Target="../tags/tag1915.xml"/><Relationship Id="rId62" Type="http://schemas.openxmlformats.org/officeDocument/2006/relationships/tags" Target="../tags/tag1923.xml"/><Relationship Id="rId70" Type="http://schemas.openxmlformats.org/officeDocument/2006/relationships/tags" Target="../tags/tag1931.xml"/><Relationship Id="rId75" Type="http://schemas.openxmlformats.org/officeDocument/2006/relationships/tags" Target="../tags/tag1936.xml"/><Relationship Id="rId83" Type="http://schemas.openxmlformats.org/officeDocument/2006/relationships/tags" Target="../tags/tag1944.xml"/><Relationship Id="rId88" Type="http://schemas.openxmlformats.org/officeDocument/2006/relationships/tags" Target="../tags/tag1949.xml"/><Relationship Id="rId91" Type="http://schemas.openxmlformats.org/officeDocument/2006/relationships/tags" Target="../tags/tag1952.xml"/><Relationship Id="rId96" Type="http://schemas.openxmlformats.org/officeDocument/2006/relationships/tags" Target="../tags/tag1957.xml"/><Relationship Id="rId1" Type="http://schemas.openxmlformats.org/officeDocument/2006/relationships/tags" Target="../tags/tag1862.xml"/><Relationship Id="rId6" Type="http://schemas.openxmlformats.org/officeDocument/2006/relationships/tags" Target="../tags/tag1867.xml"/><Relationship Id="rId15" Type="http://schemas.openxmlformats.org/officeDocument/2006/relationships/tags" Target="../tags/tag1876.xml"/><Relationship Id="rId23" Type="http://schemas.openxmlformats.org/officeDocument/2006/relationships/tags" Target="../tags/tag1884.xml"/><Relationship Id="rId28" Type="http://schemas.openxmlformats.org/officeDocument/2006/relationships/tags" Target="../tags/tag1889.xml"/><Relationship Id="rId36" Type="http://schemas.openxmlformats.org/officeDocument/2006/relationships/tags" Target="../tags/tag1897.xml"/><Relationship Id="rId49" Type="http://schemas.openxmlformats.org/officeDocument/2006/relationships/tags" Target="../tags/tag1910.xml"/><Relationship Id="rId57" Type="http://schemas.openxmlformats.org/officeDocument/2006/relationships/tags" Target="../tags/tag1918.xml"/><Relationship Id="rId10" Type="http://schemas.openxmlformats.org/officeDocument/2006/relationships/tags" Target="../tags/tag1871.xml"/><Relationship Id="rId31" Type="http://schemas.openxmlformats.org/officeDocument/2006/relationships/tags" Target="../tags/tag1892.xml"/><Relationship Id="rId44" Type="http://schemas.openxmlformats.org/officeDocument/2006/relationships/tags" Target="../tags/tag1905.xml"/><Relationship Id="rId52" Type="http://schemas.openxmlformats.org/officeDocument/2006/relationships/tags" Target="../tags/tag1913.xml"/><Relationship Id="rId60" Type="http://schemas.openxmlformats.org/officeDocument/2006/relationships/tags" Target="../tags/tag1921.xml"/><Relationship Id="rId65" Type="http://schemas.openxmlformats.org/officeDocument/2006/relationships/tags" Target="../tags/tag1926.xml"/><Relationship Id="rId73" Type="http://schemas.openxmlformats.org/officeDocument/2006/relationships/tags" Target="../tags/tag1934.xml"/><Relationship Id="rId78" Type="http://schemas.openxmlformats.org/officeDocument/2006/relationships/tags" Target="../tags/tag1939.xml"/><Relationship Id="rId81" Type="http://schemas.openxmlformats.org/officeDocument/2006/relationships/tags" Target="../tags/tag1942.xml"/><Relationship Id="rId86" Type="http://schemas.openxmlformats.org/officeDocument/2006/relationships/tags" Target="../tags/tag1947.xml"/><Relationship Id="rId94" Type="http://schemas.openxmlformats.org/officeDocument/2006/relationships/tags" Target="../tags/tag1955.xml"/><Relationship Id="rId99" Type="http://schemas.openxmlformats.org/officeDocument/2006/relationships/tags" Target="../tags/tag1960.xml"/><Relationship Id="rId101" Type="http://schemas.openxmlformats.org/officeDocument/2006/relationships/notesSlide" Target="../notesSlides/notesSlide26.xml"/><Relationship Id="rId4" Type="http://schemas.openxmlformats.org/officeDocument/2006/relationships/tags" Target="../tags/tag1865.xml"/><Relationship Id="rId9" Type="http://schemas.openxmlformats.org/officeDocument/2006/relationships/tags" Target="../tags/tag1870.xml"/><Relationship Id="rId13" Type="http://schemas.openxmlformats.org/officeDocument/2006/relationships/tags" Target="../tags/tag1874.xml"/><Relationship Id="rId18" Type="http://schemas.openxmlformats.org/officeDocument/2006/relationships/tags" Target="../tags/tag1879.xml"/><Relationship Id="rId39" Type="http://schemas.openxmlformats.org/officeDocument/2006/relationships/tags" Target="../tags/tag1900.xml"/><Relationship Id="rId34" Type="http://schemas.openxmlformats.org/officeDocument/2006/relationships/tags" Target="../tags/tag1895.xml"/><Relationship Id="rId50" Type="http://schemas.openxmlformats.org/officeDocument/2006/relationships/tags" Target="../tags/tag1911.xml"/><Relationship Id="rId55" Type="http://schemas.openxmlformats.org/officeDocument/2006/relationships/tags" Target="../tags/tag1916.xml"/><Relationship Id="rId76" Type="http://schemas.openxmlformats.org/officeDocument/2006/relationships/tags" Target="../tags/tag1937.xml"/><Relationship Id="rId97" Type="http://schemas.openxmlformats.org/officeDocument/2006/relationships/tags" Target="../tags/tag1958.xml"/><Relationship Id="rId104" Type="http://schemas.openxmlformats.org/officeDocument/2006/relationships/chart" Target="../charts/chart26.xml"/><Relationship Id="rId7" Type="http://schemas.openxmlformats.org/officeDocument/2006/relationships/tags" Target="../tags/tag1868.xml"/><Relationship Id="rId71" Type="http://schemas.openxmlformats.org/officeDocument/2006/relationships/tags" Target="../tags/tag1932.xml"/><Relationship Id="rId92" Type="http://schemas.openxmlformats.org/officeDocument/2006/relationships/tags" Target="../tags/tag1953.xml"/><Relationship Id="rId2" Type="http://schemas.openxmlformats.org/officeDocument/2006/relationships/tags" Target="../tags/tag1863.xml"/><Relationship Id="rId29" Type="http://schemas.openxmlformats.org/officeDocument/2006/relationships/tags" Target="../tags/tag1890.xml"/><Relationship Id="rId24" Type="http://schemas.openxmlformats.org/officeDocument/2006/relationships/tags" Target="../tags/tag1885.xml"/><Relationship Id="rId40" Type="http://schemas.openxmlformats.org/officeDocument/2006/relationships/tags" Target="../tags/tag1901.xml"/><Relationship Id="rId45" Type="http://schemas.openxmlformats.org/officeDocument/2006/relationships/tags" Target="../tags/tag1906.xml"/><Relationship Id="rId66" Type="http://schemas.openxmlformats.org/officeDocument/2006/relationships/tags" Target="../tags/tag1927.xml"/><Relationship Id="rId87" Type="http://schemas.openxmlformats.org/officeDocument/2006/relationships/tags" Target="../tags/tag1948.xml"/><Relationship Id="rId61" Type="http://schemas.openxmlformats.org/officeDocument/2006/relationships/tags" Target="../tags/tag1922.xml"/><Relationship Id="rId82" Type="http://schemas.openxmlformats.org/officeDocument/2006/relationships/tags" Target="../tags/tag1943.xml"/><Relationship Id="rId19" Type="http://schemas.openxmlformats.org/officeDocument/2006/relationships/tags" Target="../tags/tag1880.xml"/><Relationship Id="rId14" Type="http://schemas.openxmlformats.org/officeDocument/2006/relationships/tags" Target="../tags/tag1875.xml"/><Relationship Id="rId30" Type="http://schemas.openxmlformats.org/officeDocument/2006/relationships/tags" Target="../tags/tag1891.xml"/><Relationship Id="rId35" Type="http://schemas.openxmlformats.org/officeDocument/2006/relationships/tags" Target="../tags/tag1896.xml"/><Relationship Id="rId56" Type="http://schemas.openxmlformats.org/officeDocument/2006/relationships/tags" Target="../tags/tag1917.xml"/><Relationship Id="rId77" Type="http://schemas.openxmlformats.org/officeDocument/2006/relationships/tags" Target="../tags/tag1938.xml"/><Relationship Id="rId100" Type="http://schemas.openxmlformats.org/officeDocument/2006/relationships/slideLayout" Target="../slideLayouts/slideLayout2.xml"/><Relationship Id="rId8" Type="http://schemas.openxmlformats.org/officeDocument/2006/relationships/tags" Target="../tags/tag1869.xml"/><Relationship Id="rId51" Type="http://schemas.openxmlformats.org/officeDocument/2006/relationships/tags" Target="../tags/tag1912.xml"/><Relationship Id="rId72" Type="http://schemas.openxmlformats.org/officeDocument/2006/relationships/tags" Target="../tags/tag1933.xml"/><Relationship Id="rId93" Type="http://schemas.openxmlformats.org/officeDocument/2006/relationships/tags" Target="../tags/tag1954.xml"/><Relationship Id="rId98" Type="http://schemas.openxmlformats.org/officeDocument/2006/relationships/tags" Target="../tags/tag1959.xml"/><Relationship Id="rId3" Type="http://schemas.openxmlformats.org/officeDocument/2006/relationships/tags" Target="../tags/tag1864.xml"/></Relationships>
</file>

<file path=ppt/slides/_rels/slide29.xml.rels><?xml version="1.0" encoding="UTF-8" standalone="yes"?>
<Relationships xmlns="http://schemas.openxmlformats.org/package/2006/relationships"><Relationship Id="rId26" Type="http://schemas.openxmlformats.org/officeDocument/2006/relationships/tags" Target="../tags/tag1986.xml"/><Relationship Id="rId21" Type="http://schemas.openxmlformats.org/officeDocument/2006/relationships/tags" Target="../tags/tag1981.xml"/><Relationship Id="rId42" Type="http://schemas.openxmlformats.org/officeDocument/2006/relationships/tags" Target="../tags/tag2002.xml"/><Relationship Id="rId47" Type="http://schemas.openxmlformats.org/officeDocument/2006/relationships/tags" Target="../tags/tag2007.xml"/><Relationship Id="rId63" Type="http://schemas.openxmlformats.org/officeDocument/2006/relationships/tags" Target="../tags/tag2023.xml"/><Relationship Id="rId68" Type="http://schemas.openxmlformats.org/officeDocument/2006/relationships/tags" Target="../tags/tag2028.xml"/><Relationship Id="rId84" Type="http://schemas.openxmlformats.org/officeDocument/2006/relationships/tags" Target="../tags/tag2044.xml"/><Relationship Id="rId89" Type="http://schemas.openxmlformats.org/officeDocument/2006/relationships/tags" Target="../tags/tag2049.xml"/><Relationship Id="rId16" Type="http://schemas.openxmlformats.org/officeDocument/2006/relationships/tags" Target="../tags/tag1976.xml"/><Relationship Id="rId11" Type="http://schemas.openxmlformats.org/officeDocument/2006/relationships/tags" Target="../tags/tag1971.xml"/><Relationship Id="rId32" Type="http://schemas.openxmlformats.org/officeDocument/2006/relationships/tags" Target="../tags/tag1992.xml"/><Relationship Id="rId37" Type="http://schemas.openxmlformats.org/officeDocument/2006/relationships/tags" Target="../tags/tag1997.xml"/><Relationship Id="rId53" Type="http://schemas.openxmlformats.org/officeDocument/2006/relationships/tags" Target="../tags/tag2013.xml"/><Relationship Id="rId58" Type="http://schemas.openxmlformats.org/officeDocument/2006/relationships/tags" Target="../tags/tag2018.xml"/><Relationship Id="rId74" Type="http://schemas.openxmlformats.org/officeDocument/2006/relationships/tags" Target="../tags/tag2034.xml"/><Relationship Id="rId79" Type="http://schemas.openxmlformats.org/officeDocument/2006/relationships/tags" Target="../tags/tag2039.xml"/><Relationship Id="rId5" Type="http://schemas.openxmlformats.org/officeDocument/2006/relationships/tags" Target="../tags/tag1965.xml"/><Relationship Id="rId90" Type="http://schemas.openxmlformats.org/officeDocument/2006/relationships/tags" Target="../tags/tag2050.xml"/><Relationship Id="rId95" Type="http://schemas.openxmlformats.org/officeDocument/2006/relationships/tags" Target="../tags/tag2055.xml"/><Relationship Id="rId22" Type="http://schemas.openxmlformats.org/officeDocument/2006/relationships/tags" Target="../tags/tag1982.xml"/><Relationship Id="rId27" Type="http://schemas.openxmlformats.org/officeDocument/2006/relationships/tags" Target="../tags/tag1987.xml"/><Relationship Id="rId43" Type="http://schemas.openxmlformats.org/officeDocument/2006/relationships/tags" Target="../tags/tag2003.xml"/><Relationship Id="rId48" Type="http://schemas.openxmlformats.org/officeDocument/2006/relationships/tags" Target="../tags/tag2008.xml"/><Relationship Id="rId64" Type="http://schemas.openxmlformats.org/officeDocument/2006/relationships/tags" Target="../tags/tag2024.xml"/><Relationship Id="rId69" Type="http://schemas.openxmlformats.org/officeDocument/2006/relationships/tags" Target="../tags/tag2029.xml"/><Relationship Id="rId80" Type="http://schemas.openxmlformats.org/officeDocument/2006/relationships/tags" Target="../tags/tag2040.xml"/><Relationship Id="rId85" Type="http://schemas.openxmlformats.org/officeDocument/2006/relationships/tags" Target="../tags/tag2045.xml"/><Relationship Id="rId12" Type="http://schemas.openxmlformats.org/officeDocument/2006/relationships/tags" Target="../tags/tag1972.xml"/><Relationship Id="rId17" Type="http://schemas.openxmlformats.org/officeDocument/2006/relationships/tags" Target="../tags/tag1977.xml"/><Relationship Id="rId25" Type="http://schemas.openxmlformats.org/officeDocument/2006/relationships/tags" Target="../tags/tag1985.xml"/><Relationship Id="rId33" Type="http://schemas.openxmlformats.org/officeDocument/2006/relationships/tags" Target="../tags/tag1993.xml"/><Relationship Id="rId38" Type="http://schemas.openxmlformats.org/officeDocument/2006/relationships/tags" Target="../tags/tag1998.xml"/><Relationship Id="rId46" Type="http://schemas.openxmlformats.org/officeDocument/2006/relationships/tags" Target="../tags/tag2006.xml"/><Relationship Id="rId59" Type="http://schemas.openxmlformats.org/officeDocument/2006/relationships/tags" Target="../tags/tag2019.xml"/><Relationship Id="rId67" Type="http://schemas.openxmlformats.org/officeDocument/2006/relationships/tags" Target="../tags/tag2027.xml"/><Relationship Id="rId20" Type="http://schemas.openxmlformats.org/officeDocument/2006/relationships/tags" Target="../tags/tag1980.xml"/><Relationship Id="rId41" Type="http://schemas.openxmlformats.org/officeDocument/2006/relationships/tags" Target="../tags/tag2001.xml"/><Relationship Id="rId54" Type="http://schemas.openxmlformats.org/officeDocument/2006/relationships/tags" Target="../tags/tag2014.xml"/><Relationship Id="rId62" Type="http://schemas.openxmlformats.org/officeDocument/2006/relationships/tags" Target="../tags/tag2022.xml"/><Relationship Id="rId70" Type="http://schemas.openxmlformats.org/officeDocument/2006/relationships/tags" Target="../tags/tag2030.xml"/><Relationship Id="rId75" Type="http://schemas.openxmlformats.org/officeDocument/2006/relationships/tags" Target="../tags/tag2035.xml"/><Relationship Id="rId83" Type="http://schemas.openxmlformats.org/officeDocument/2006/relationships/tags" Target="../tags/tag2043.xml"/><Relationship Id="rId88" Type="http://schemas.openxmlformats.org/officeDocument/2006/relationships/tags" Target="../tags/tag2048.xml"/><Relationship Id="rId91" Type="http://schemas.openxmlformats.org/officeDocument/2006/relationships/tags" Target="../tags/tag2051.xml"/><Relationship Id="rId96" Type="http://schemas.openxmlformats.org/officeDocument/2006/relationships/tags" Target="../tags/tag2056.xml"/><Relationship Id="rId1" Type="http://schemas.openxmlformats.org/officeDocument/2006/relationships/tags" Target="../tags/tag1961.xml"/><Relationship Id="rId6" Type="http://schemas.openxmlformats.org/officeDocument/2006/relationships/tags" Target="../tags/tag1966.xml"/><Relationship Id="rId15" Type="http://schemas.openxmlformats.org/officeDocument/2006/relationships/tags" Target="../tags/tag1975.xml"/><Relationship Id="rId23" Type="http://schemas.openxmlformats.org/officeDocument/2006/relationships/tags" Target="../tags/tag1983.xml"/><Relationship Id="rId28" Type="http://schemas.openxmlformats.org/officeDocument/2006/relationships/tags" Target="../tags/tag1988.xml"/><Relationship Id="rId36" Type="http://schemas.openxmlformats.org/officeDocument/2006/relationships/tags" Target="../tags/tag1996.xml"/><Relationship Id="rId49" Type="http://schemas.openxmlformats.org/officeDocument/2006/relationships/tags" Target="../tags/tag2009.xml"/><Relationship Id="rId57" Type="http://schemas.openxmlformats.org/officeDocument/2006/relationships/tags" Target="../tags/tag2017.xml"/><Relationship Id="rId10" Type="http://schemas.openxmlformats.org/officeDocument/2006/relationships/tags" Target="../tags/tag1970.xml"/><Relationship Id="rId31" Type="http://schemas.openxmlformats.org/officeDocument/2006/relationships/tags" Target="../tags/tag1991.xml"/><Relationship Id="rId44" Type="http://schemas.openxmlformats.org/officeDocument/2006/relationships/tags" Target="../tags/tag2004.xml"/><Relationship Id="rId52" Type="http://schemas.openxmlformats.org/officeDocument/2006/relationships/tags" Target="../tags/tag2012.xml"/><Relationship Id="rId60" Type="http://schemas.openxmlformats.org/officeDocument/2006/relationships/tags" Target="../tags/tag2020.xml"/><Relationship Id="rId65" Type="http://schemas.openxmlformats.org/officeDocument/2006/relationships/tags" Target="../tags/tag2025.xml"/><Relationship Id="rId73" Type="http://schemas.openxmlformats.org/officeDocument/2006/relationships/tags" Target="../tags/tag2033.xml"/><Relationship Id="rId78" Type="http://schemas.openxmlformats.org/officeDocument/2006/relationships/tags" Target="../tags/tag2038.xml"/><Relationship Id="rId81" Type="http://schemas.openxmlformats.org/officeDocument/2006/relationships/tags" Target="../tags/tag2041.xml"/><Relationship Id="rId86" Type="http://schemas.openxmlformats.org/officeDocument/2006/relationships/tags" Target="../tags/tag2046.xml"/><Relationship Id="rId94" Type="http://schemas.openxmlformats.org/officeDocument/2006/relationships/tags" Target="../tags/tag2054.xml"/><Relationship Id="rId99" Type="http://schemas.openxmlformats.org/officeDocument/2006/relationships/oleObject" Target="../embeddings/oleObject30.bin"/><Relationship Id="rId101" Type="http://schemas.openxmlformats.org/officeDocument/2006/relationships/chart" Target="../charts/chart27.xml"/><Relationship Id="rId4" Type="http://schemas.openxmlformats.org/officeDocument/2006/relationships/tags" Target="../tags/tag1964.xml"/><Relationship Id="rId9" Type="http://schemas.openxmlformats.org/officeDocument/2006/relationships/tags" Target="../tags/tag1969.xml"/><Relationship Id="rId13" Type="http://schemas.openxmlformats.org/officeDocument/2006/relationships/tags" Target="../tags/tag1973.xml"/><Relationship Id="rId18" Type="http://schemas.openxmlformats.org/officeDocument/2006/relationships/tags" Target="../tags/tag1978.xml"/><Relationship Id="rId39" Type="http://schemas.openxmlformats.org/officeDocument/2006/relationships/tags" Target="../tags/tag1999.xml"/><Relationship Id="rId34" Type="http://schemas.openxmlformats.org/officeDocument/2006/relationships/tags" Target="../tags/tag1994.xml"/><Relationship Id="rId50" Type="http://schemas.openxmlformats.org/officeDocument/2006/relationships/tags" Target="../tags/tag2010.xml"/><Relationship Id="rId55" Type="http://schemas.openxmlformats.org/officeDocument/2006/relationships/tags" Target="../tags/tag2015.xml"/><Relationship Id="rId76" Type="http://schemas.openxmlformats.org/officeDocument/2006/relationships/tags" Target="../tags/tag2036.xml"/><Relationship Id="rId97" Type="http://schemas.openxmlformats.org/officeDocument/2006/relationships/slideLayout" Target="../slideLayouts/slideLayout2.xml"/><Relationship Id="rId7" Type="http://schemas.openxmlformats.org/officeDocument/2006/relationships/tags" Target="../tags/tag1967.xml"/><Relationship Id="rId71" Type="http://schemas.openxmlformats.org/officeDocument/2006/relationships/tags" Target="../tags/tag2031.xml"/><Relationship Id="rId92" Type="http://schemas.openxmlformats.org/officeDocument/2006/relationships/tags" Target="../tags/tag2052.xml"/><Relationship Id="rId2" Type="http://schemas.openxmlformats.org/officeDocument/2006/relationships/tags" Target="../tags/tag1962.xml"/><Relationship Id="rId29" Type="http://schemas.openxmlformats.org/officeDocument/2006/relationships/tags" Target="../tags/tag1989.xml"/><Relationship Id="rId24" Type="http://schemas.openxmlformats.org/officeDocument/2006/relationships/tags" Target="../tags/tag1984.xml"/><Relationship Id="rId40" Type="http://schemas.openxmlformats.org/officeDocument/2006/relationships/tags" Target="../tags/tag2000.xml"/><Relationship Id="rId45" Type="http://schemas.openxmlformats.org/officeDocument/2006/relationships/tags" Target="../tags/tag2005.xml"/><Relationship Id="rId66" Type="http://schemas.openxmlformats.org/officeDocument/2006/relationships/tags" Target="../tags/tag2026.xml"/><Relationship Id="rId87" Type="http://schemas.openxmlformats.org/officeDocument/2006/relationships/tags" Target="../tags/tag2047.xml"/><Relationship Id="rId61" Type="http://schemas.openxmlformats.org/officeDocument/2006/relationships/tags" Target="../tags/tag2021.xml"/><Relationship Id="rId82" Type="http://schemas.openxmlformats.org/officeDocument/2006/relationships/tags" Target="../tags/tag2042.xml"/><Relationship Id="rId19" Type="http://schemas.openxmlformats.org/officeDocument/2006/relationships/tags" Target="../tags/tag1979.xml"/><Relationship Id="rId14" Type="http://schemas.openxmlformats.org/officeDocument/2006/relationships/tags" Target="../tags/tag1974.xml"/><Relationship Id="rId30" Type="http://schemas.openxmlformats.org/officeDocument/2006/relationships/tags" Target="../tags/tag1990.xml"/><Relationship Id="rId35" Type="http://schemas.openxmlformats.org/officeDocument/2006/relationships/tags" Target="../tags/tag1995.xml"/><Relationship Id="rId56" Type="http://schemas.openxmlformats.org/officeDocument/2006/relationships/tags" Target="../tags/tag2016.xml"/><Relationship Id="rId77" Type="http://schemas.openxmlformats.org/officeDocument/2006/relationships/tags" Target="../tags/tag2037.xml"/><Relationship Id="rId100" Type="http://schemas.openxmlformats.org/officeDocument/2006/relationships/image" Target="../media/image1.emf"/><Relationship Id="rId8" Type="http://schemas.openxmlformats.org/officeDocument/2006/relationships/tags" Target="../tags/tag1968.xml"/><Relationship Id="rId51" Type="http://schemas.openxmlformats.org/officeDocument/2006/relationships/tags" Target="../tags/tag2011.xml"/><Relationship Id="rId72" Type="http://schemas.openxmlformats.org/officeDocument/2006/relationships/tags" Target="../tags/tag2032.xml"/><Relationship Id="rId93" Type="http://schemas.openxmlformats.org/officeDocument/2006/relationships/tags" Target="../tags/tag2053.xml"/><Relationship Id="rId98" Type="http://schemas.openxmlformats.org/officeDocument/2006/relationships/notesSlide" Target="../notesSlides/notesSlide27.xml"/><Relationship Id="rId3" Type="http://schemas.openxmlformats.org/officeDocument/2006/relationships/tags" Target="../tags/tag1963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oleObject" Target="../embeddings/oleObject4.bin"/><Relationship Id="rId7" Type="http://schemas.openxmlformats.org/officeDocument/2006/relationships/tags" Target="../tags/tag1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9" Type="http://schemas.openxmlformats.org/officeDocument/2006/relationships/tags" Target="../tags/tag40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slideLayout" Target="../slideLayouts/slideLayout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chart" Target="../charts/chart1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image" Target="../media/image1.emf"/><Relationship Id="rId8" Type="http://schemas.openxmlformats.org/officeDocument/2006/relationships/tags" Target="../tags/tag19.xml"/><Relationship Id="rId3" Type="http://schemas.openxmlformats.org/officeDocument/2006/relationships/tags" Target="../tags/tag14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notesSlide" Target="../notesSlides/notesSlide1.xml"/><Relationship Id="rId20" Type="http://schemas.openxmlformats.org/officeDocument/2006/relationships/tags" Target="../tags/tag31.xml"/><Relationship Id="rId41" Type="http://schemas.openxmlformats.org/officeDocument/2006/relationships/tags" Target="../tags/tag52.xml"/><Relationship Id="rId1" Type="http://schemas.openxmlformats.org/officeDocument/2006/relationships/tags" Target="../tags/tag12.xml"/><Relationship Id="rId6" Type="http://schemas.openxmlformats.org/officeDocument/2006/relationships/tags" Target="../tags/tag17.xml"/></Relationships>
</file>

<file path=ppt/slides/_rels/slide30.xml.rels><?xml version="1.0" encoding="UTF-8" standalone="yes"?>
<Relationships xmlns="http://schemas.openxmlformats.org/package/2006/relationships"><Relationship Id="rId26" Type="http://schemas.openxmlformats.org/officeDocument/2006/relationships/tags" Target="../tags/tag2082.xml"/><Relationship Id="rId21" Type="http://schemas.openxmlformats.org/officeDocument/2006/relationships/tags" Target="../tags/tag2077.xml"/><Relationship Id="rId42" Type="http://schemas.openxmlformats.org/officeDocument/2006/relationships/tags" Target="../tags/tag2098.xml"/><Relationship Id="rId47" Type="http://schemas.openxmlformats.org/officeDocument/2006/relationships/tags" Target="../tags/tag2103.xml"/><Relationship Id="rId63" Type="http://schemas.openxmlformats.org/officeDocument/2006/relationships/tags" Target="../tags/tag2119.xml"/><Relationship Id="rId68" Type="http://schemas.openxmlformats.org/officeDocument/2006/relationships/tags" Target="../tags/tag2124.xml"/><Relationship Id="rId84" Type="http://schemas.openxmlformats.org/officeDocument/2006/relationships/tags" Target="../tags/tag2140.xml"/><Relationship Id="rId89" Type="http://schemas.openxmlformats.org/officeDocument/2006/relationships/tags" Target="../tags/tag2145.xml"/><Relationship Id="rId16" Type="http://schemas.openxmlformats.org/officeDocument/2006/relationships/tags" Target="../tags/tag2072.xml"/><Relationship Id="rId11" Type="http://schemas.openxmlformats.org/officeDocument/2006/relationships/tags" Target="../tags/tag2067.xml"/><Relationship Id="rId32" Type="http://schemas.openxmlformats.org/officeDocument/2006/relationships/tags" Target="../tags/tag2088.xml"/><Relationship Id="rId37" Type="http://schemas.openxmlformats.org/officeDocument/2006/relationships/tags" Target="../tags/tag2093.xml"/><Relationship Id="rId53" Type="http://schemas.openxmlformats.org/officeDocument/2006/relationships/tags" Target="../tags/tag2109.xml"/><Relationship Id="rId58" Type="http://schemas.openxmlformats.org/officeDocument/2006/relationships/tags" Target="../tags/tag2114.xml"/><Relationship Id="rId74" Type="http://schemas.openxmlformats.org/officeDocument/2006/relationships/tags" Target="../tags/tag2130.xml"/><Relationship Id="rId79" Type="http://schemas.openxmlformats.org/officeDocument/2006/relationships/tags" Target="../tags/tag2135.xml"/><Relationship Id="rId102" Type="http://schemas.openxmlformats.org/officeDocument/2006/relationships/slideLayout" Target="../slideLayouts/slideLayout2.xml"/><Relationship Id="rId5" Type="http://schemas.openxmlformats.org/officeDocument/2006/relationships/tags" Target="../tags/tag2061.xml"/><Relationship Id="rId90" Type="http://schemas.openxmlformats.org/officeDocument/2006/relationships/tags" Target="../tags/tag2146.xml"/><Relationship Id="rId95" Type="http://schemas.openxmlformats.org/officeDocument/2006/relationships/tags" Target="../tags/tag2151.xml"/><Relationship Id="rId22" Type="http://schemas.openxmlformats.org/officeDocument/2006/relationships/tags" Target="../tags/tag2078.xml"/><Relationship Id="rId27" Type="http://schemas.openxmlformats.org/officeDocument/2006/relationships/tags" Target="../tags/tag2083.xml"/><Relationship Id="rId43" Type="http://schemas.openxmlformats.org/officeDocument/2006/relationships/tags" Target="../tags/tag2099.xml"/><Relationship Id="rId48" Type="http://schemas.openxmlformats.org/officeDocument/2006/relationships/tags" Target="../tags/tag2104.xml"/><Relationship Id="rId64" Type="http://schemas.openxmlformats.org/officeDocument/2006/relationships/tags" Target="../tags/tag2120.xml"/><Relationship Id="rId69" Type="http://schemas.openxmlformats.org/officeDocument/2006/relationships/tags" Target="../tags/tag2125.xml"/><Relationship Id="rId80" Type="http://schemas.openxmlformats.org/officeDocument/2006/relationships/tags" Target="../tags/tag2136.xml"/><Relationship Id="rId85" Type="http://schemas.openxmlformats.org/officeDocument/2006/relationships/tags" Target="../tags/tag2141.xml"/><Relationship Id="rId12" Type="http://schemas.openxmlformats.org/officeDocument/2006/relationships/tags" Target="../tags/tag2068.xml"/><Relationship Id="rId17" Type="http://schemas.openxmlformats.org/officeDocument/2006/relationships/tags" Target="../tags/tag2073.xml"/><Relationship Id="rId33" Type="http://schemas.openxmlformats.org/officeDocument/2006/relationships/tags" Target="../tags/tag2089.xml"/><Relationship Id="rId38" Type="http://schemas.openxmlformats.org/officeDocument/2006/relationships/tags" Target="../tags/tag2094.xml"/><Relationship Id="rId59" Type="http://schemas.openxmlformats.org/officeDocument/2006/relationships/tags" Target="../tags/tag2115.xml"/><Relationship Id="rId103" Type="http://schemas.openxmlformats.org/officeDocument/2006/relationships/notesSlide" Target="../notesSlides/notesSlide28.xml"/><Relationship Id="rId20" Type="http://schemas.openxmlformats.org/officeDocument/2006/relationships/tags" Target="../tags/tag2076.xml"/><Relationship Id="rId41" Type="http://schemas.openxmlformats.org/officeDocument/2006/relationships/tags" Target="../tags/tag2097.xml"/><Relationship Id="rId54" Type="http://schemas.openxmlformats.org/officeDocument/2006/relationships/tags" Target="../tags/tag2110.xml"/><Relationship Id="rId62" Type="http://schemas.openxmlformats.org/officeDocument/2006/relationships/tags" Target="../tags/tag2118.xml"/><Relationship Id="rId70" Type="http://schemas.openxmlformats.org/officeDocument/2006/relationships/tags" Target="../tags/tag2126.xml"/><Relationship Id="rId75" Type="http://schemas.openxmlformats.org/officeDocument/2006/relationships/tags" Target="../tags/tag2131.xml"/><Relationship Id="rId83" Type="http://schemas.openxmlformats.org/officeDocument/2006/relationships/tags" Target="../tags/tag2139.xml"/><Relationship Id="rId88" Type="http://schemas.openxmlformats.org/officeDocument/2006/relationships/tags" Target="../tags/tag2144.xml"/><Relationship Id="rId91" Type="http://schemas.openxmlformats.org/officeDocument/2006/relationships/tags" Target="../tags/tag2147.xml"/><Relationship Id="rId96" Type="http://schemas.openxmlformats.org/officeDocument/2006/relationships/tags" Target="../tags/tag2152.xml"/><Relationship Id="rId1" Type="http://schemas.openxmlformats.org/officeDocument/2006/relationships/tags" Target="../tags/tag2057.xml"/><Relationship Id="rId6" Type="http://schemas.openxmlformats.org/officeDocument/2006/relationships/tags" Target="../tags/tag2062.xml"/><Relationship Id="rId15" Type="http://schemas.openxmlformats.org/officeDocument/2006/relationships/tags" Target="../tags/tag2071.xml"/><Relationship Id="rId23" Type="http://schemas.openxmlformats.org/officeDocument/2006/relationships/tags" Target="../tags/tag2079.xml"/><Relationship Id="rId28" Type="http://schemas.openxmlformats.org/officeDocument/2006/relationships/tags" Target="../tags/tag2084.xml"/><Relationship Id="rId36" Type="http://schemas.openxmlformats.org/officeDocument/2006/relationships/tags" Target="../tags/tag2092.xml"/><Relationship Id="rId49" Type="http://schemas.openxmlformats.org/officeDocument/2006/relationships/tags" Target="../tags/tag2105.xml"/><Relationship Id="rId57" Type="http://schemas.openxmlformats.org/officeDocument/2006/relationships/tags" Target="../tags/tag2113.xml"/><Relationship Id="rId106" Type="http://schemas.openxmlformats.org/officeDocument/2006/relationships/chart" Target="../charts/chart28.xml"/><Relationship Id="rId10" Type="http://schemas.openxmlformats.org/officeDocument/2006/relationships/tags" Target="../tags/tag2066.xml"/><Relationship Id="rId31" Type="http://schemas.openxmlformats.org/officeDocument/2006/relationships/tags" Target="../tags/tag2087.xml"/><Relationship Id="rId44" Type="http://schemas.openxmlformats.org/officeDocument/2006/relationships/tags" Target="../tags/tag2100.xml"/><Relationship Id="rId52" Type="http://schemas.openxmlformats.org/officeDocument/2006/relationships/tags" Target="../tags/tag2108.xml"/><Relationship Id="rId60" Type="http://schemas.openxmlformats.org/officeDocument/2006/relationships/tags" Target="../tags/tag2116.xml"/><Relationship Id="rId65" Type="http://schemas.openxmlformats.org/officeDocument/2006/relationships/tags" Target="../tags/tag2121.xml"/><Relationship Id="rId73" Type="http://schemas.openxmlformats.org/officeDocument/2006/relationships/tags" Target="../tags/tag2129.xml"/><Relationship Id="rId78" Type="http://schemas.openxmlformats.org/officeDocument/2006/relationships/tags" Target="../tags/tag2134.xml"/><Relationship Id="rId81" Type="http://schemas.openxmlformats.org/officeDocument/2006/relationships/tags" Target="../tags/tag2137.xml"/><Relationship Id="rId86" Type="http://schemas.openxmlformats.org/officeDocument/2006/relationships/tags" Target="../tags/tag2142.xml"/><Relationship Id="rId94" Type="http://schemas.openxmlformats.org/officeDocument/2006/relationships/tags" Target="../tags/tag2150.xml"/><Relationship Id="rId99" Type="http://schemas.openxmlformats.org/officeDocument/2006/relationships/tags" Target="../tags/tag2155.xml"/><Relationship Id="rId101" Type="http://schemas.openxmlformats.org/officeDocument/2006/relationships/tags" Target="../tags/tag2157.xml"/><Relationship Id="rId4" Type="http://schemas.openxmlformats.org/officeDocument/2006/relationships/tags" Target="../tags/tag2060.xml"/><Relationship Id="rId9" Type="http://schemas.openxmlformats.org/officeDocument/2006/relationships/tags" Target="../tags/tag2065.xml"/><Relationship Id="rId13" Type="http://schemas.openxmlformats.org/officeDocument/2006/relationships/tags" Target="../tags/tag2069.xml"/><Relationship Id="rId18" Type="http://schemas.openxmlformats.org/officeDocument/2006/relationships/tags" Target="../tags/tag2074.xml"/><Relationship Id="rId39" Type="http://schemas.openxmlformats.org/officeDocument/2006/relationships/tags" Target="../tags/tag2095.xml"/><Relationship Id="rId34" Type="http://schemas.openxmlformats.org/officeDocument/2006/relationships/tags" Target="../tags/tag2090.xml"/><Relationship Id="rId50" Type="http://schemas.openxmlformats.org/officeDocument/2006/relationships/tags" Target="../tags/tag2106.xml"/><Relationship Id="rId55" Type="http://schemas.openxmlformats.org/officeDocument/2006/relationships/tags" Target="../tags/tag2111.xml"/><Relationship Id="rId76" Type="http://schemas.openxmlformats.org/officeDocument/2006/relationships/tags" Target="../tags/tag2132.xml"/><Relationship Id="rId97" Type="http://schemas.openxmlformats.org/officeDocument/2006/relationships/tags" Target="../tags/tag2153.xml"/><Relationship Id="rId104" Type="http://schemas.openxmlformats.org/officeDocument/2006/relationships/oleObject" Target="../embeddings/oleObject31.bin"/><Relationship Id="rId7" Type="http://schemas.openxmlformats.org/officeDocument/2006/relationships/tags" Target="../tags/tag2063.xml"/><Relationship Id="rId71" Type="http://schemas.openxmlformats.org/officeDocument/2006/relationships/tags" Target="../tags/tag2127.xml"/><Relationship Id="rId92" Type="http://schemas.openxmlformats.org/officeDocument/2006/relationships/tags" Target="../tags/tag2148.xml"/><Relationship Id="rId2" Type="http://schemas.openxmlformats.org/officeDocument/2006/relationships/tags" Target="../tags/tag2058.xml"/><Relationship Id="rId29" Type="http://schemas.openxmlformats.org/officeDocument/2006/relationships/tags" Target="../tags/tag2085.xml"/><Relationship Id="rId24" Type="http://schemas.openxmlformats.org/officeDocument/2006/relationships/tags" Target="../tags/tag2080.xml"/><Relationship Id="rId40" Type="http://schemas.openxmlformats.org/officeDocument/2006/relationships/tags" Target="../tags/tag2096.xml"/><Relationship Id="rId45" Type="http://schemas.openxmlformats.org/officeDocument/2006/relationships/tags" Target="../tags/tag2101.xml"/><Relationship Id="rId66" Type="http://schemas.openxmlformats.org/officeDocument/2006/relationships/tags" Target="../tags/tag2122.xml"/><Relationship Id="rId87" Type="http://schemas.openxmlformats.org/officeDocument/2006/relationships/tags" Target="../tags/tag2143.xml"/><Relationship Id="rId61" Type="http://schemas.openxmlformats.org/officeDocument/2006/relationships/tags" Target="../tags/tag2117.xml"/><Relationship Id="rId82" Type="http://schemas.openxmlformats.org/officeDocument/2006/relationships/tags" Target="../tags/tag2138.xml"/><Relationship Id="rId19" Type="http://schemas.openxmlformats.org/officeDocument/2006/relationships/tags" Target="../tags/tag2075.xml"/><Relationship Id="rId14" Type="http://schemas.openxmlformats.org/officeDocument/2006/relationships/tags" Target="../tags/tag2070.xml"/><Relationship Id="rId30" Type="http://schemas.openxmlformats.org/officeDocument/2006/relationships/tags" Target="../tags/tag2086.xml"/><Relationship Id="rId35" Type="http://schemas.openxmlformats.org/officeDocument/2006/relationships/tags" Target="../tags/tag2091.xml"/><Relationship Id="rId56" Type="http://schemas.openxmlformats.org/officeDocument/2006/relationships/tags" Target="../tags/tag2112.xml"/><Relationship Id="rId77" Type="http://schemas.openxmlformats.org/officeDocument/2006/relationships/tags" Target="../tags/tag2133.xml"/><Relationship Id="rId100" Type="http://schemas.openxmlformats.org/officeDocument/2006/relationships/tags" Target="../tags/tag2156.xml"/><Relationship Id="rId105" Type="http://schemas.openxmlformats.org/officeDocument/2006/relationships/image" Target="../media/image1.emf"/><Relationship Id="rId8" Type="http://schemas.openxmlformats.org/officeDocument/2006/relationships/tags" Target="../tags/tag2064.xml"/><Relationship Id="rId51" Type="http://schemas.openxmlformats.org/officeDocument/2006/relationships/tags" Target="../tags/tag2107.xml"/><Relationship Id="rId72" Type="http://schemas.openxmlformats.org/officeDocument/2006/relationships/tags" Target="../tags/tag2128.xml"/><Relationship Id="rId93" Type="http://schemas.openxmlformats.org/officeDocument/2006/relationships/tags" Target="../tags/tag2149.xml"/><Relationship Id="rId98" Type="http://schemas.openxmlformats.org/officeDocument/2006/relationships/tags" Target="../tags/tag2154.xml"/><Relationship Id="rId3" Type="http://schemas.openxmlformats.org/officeDocument/2006/relationships/tags" Target="../tags/tag2059.xml"/><Relationship Id="rId25" Type="http://schemas.openxmlformats.org/officeDocument/2006/relationships/tags" Target="../tags/tag2081.xml"/><Relationship Id="rId46" Type="http://schemas.openxmlformats.org/officeDocument/2006/relationships/tags" Target="../tags/tag2102.xml"/><Relationship Id="rId67" Type="http://schemas.openxmlformats.org/officeDocument/2006/relationships/tags" Target="../tags/tag2123.xml"/></Relationships>
</file>

<file path=ppt/slides/_rels/slide31.xml.rels><?xml version="1.0" encoding="UTF-8" standalone="yes"?>
<Relationships xmlns="http://schemas.openxmlformats.org/package/2006/relationships"><Relationship Id="rId13" Type="http://schemas.openxmlformats.org/officeDocument/2006/relationships/tags" Target="../tags/tag2170.xml"/><Relationship Id="rId18" Type="http://schemas.openxmlformats.org/officeDocument/2006/relationships/tags" Target="../tags/tag2175.xml"/><Relationship Id="rId26" Type="http://schemas.openxmlformats.org/officeDocument/2006/relationships/tags" Target="../tags/tag2183.xml"/><Relationship Id="rId39" Type="http://schemas.openxmlformats.org/officeDocument/2006/relationships/image" Target="../media/image1.emf"/><Relationship Id="rId21" Type="http://schemas.openxmlformats.org/officeDocument/2006/relationships/tags" Target="../tags/tag2178.xml"/><Relationship Id="rId34" Type="http://schemas.openxmlformats.org/officeDocument/2006/relationships/tags" Target="../tags/tag2191.xml"/><Relationship Id="rId7" Type="http://schemas.openxmlformats.org/officeDocument/2006/relationships/tags" Target="../tags/tag2164.xml"/><Relationship Id="rId12" Type="http://schemas.openxmlformats.org/officeDocument/2006/relationships/tags" Target="../tags/tag2169.xml"/><Relationship Id="rId17" Type="http://schemas.openxmlformats.org/officeDocument/2006/relationships/tags" Target="../tags/tag2174.xml"/><Relationship Id="rId25" Type="http://schemas.openxmlformats.org/officeDocument/2006/relationships/tags" Target="../tags/tag2182.xml"/><Relationship Id="rId33" Type="http://schemas.openxmlformats.org/officeDocument/2006/relationships/tags" Target="../tags/tag2190.xml"/><Relationship Id="rId38" Type="http://schemas.openxmlformats.org/officeDocument/2006/relationships/oleObject" Target="../embeddings/oleObject32.bin"/><Relationship Id="rId2" Type="http://schemas.openxmlformats.org/officeDocument/2006/relationships/tags" Target="../tags/tag2159.xml"/><Relationship Id="rId16" Type="http://schemas.openxmlformats.org/officeDocument/2006/relationships/tags" Target="../tags/tag2173.xml"/><Relationship Id="rId20" Type="http://schemas.openxmlformats.org/officeDocument/2006/relationships/tags" Target="../tags/tag2177.xml"/><Relationship Id="rId29" Type="http://schemas.openxmlformats.org/officeDocument/2006/relationships/tags" Target="../tags/tag2186.xml"/><Relationship Id="rId1" Type="http://schemas.openxmlformats.org/officeDocument/2006/relationships/tags" Target="../tags/tag2158.xml"/><Relationship Id="rId6" Type="http://schemas.openxmlformats.org/officeDocument/2006/relationships/tags" Target="../tags/tag2163.xml"/><Relationship Id="rId11" Type="http://schemas.openxmlformats.org/officeDocument/2006/relationships/tags" Target="../tags/tag2168.xml"/><Relationship Id="rId24" Type="http://schemas.openxmlformats.org/officeDocument/2006/relationships/tags" Target="../tags/tag2181.xml"/><Relationship Id="rId32" Type="http://schemas.openxmlformats.org/officeDocument/2006/relationships/tags" Target="../tags/tag2189.xml"/><Relationship Id="rId37" Type="http://schemas.openxmlformats.org/officeDocument/2006/relationships/slideLayout" Target="../slideLayouts/slideLayout2.xml"/><Relationship Id="rId40" Type="http://schemas.openxmlformats.org/officeDocument/2006/relationships/chart" Target="../charts/chart29.xml"/><Relationship Id="rId5" Type="http://schemas.openxmlformats.org/officeDocument/2006/relationships/tags" Target="../tags/tag2162.xml"/><Relationship Id="rId15" Type="http://schemas.openxmlformats.org/officeDocument/2006/relationships/tags" Target="../tags/tag2172.xml"/><Relationship Id="rId23" Type="http://schemas.openxmlformats.org/officeDocument/2006/relationships/tags" Target="../tags/tag2180.xml"/><Relationship Id="rId28" Type="http://schemas.openxmlformats.org/officeDocument/2006/relationships/tags" Target="../tags/tag2185.xml"/><Relationship Id="rId36" Type="http://schemas.openxmlformats.org/officeDocument/2006/relationships/tags" Target="../tags/tag2193.xml"/><Relationship Id="rId10" Type="http://schemas.openxmlformats.org/officeDocument/2006/relationships/tags" Target="../tags/tag2167.xml"/><Relationship Id="rId19" Type="http://schemas.openxmlformats.org/officeDocument/2006/relationships/tags" Target="../tags/tag2176.xml"/><Relationship Id="rId31" Type="http://schemas.openxmlformats.org/officeDocument/2006/relationships/tags" Target="../tags/tag2188.xml"/><Relationship Id="rId4" Type="http://schemas.openxmlformats.org/officeDocument/2006/relationships/tags" Target="../tags/tag2161.xml"/><Relationship Id="rId9" Type="http://schemas.openxmlformats.org/officeDocument/2006/relationships/tags" Target="../tags/tag2166.xml"/><Relationship Id="rId14" Type="http://schemas.openxmlformats.org/officeDocument/2006/relationships/tags" Target="../tags/tag2171.xml"/><Relationship Id="rId22" Type="http://schemas.openxmlformats.org/officeDocument/2006/relationships/tags" Target="../tags/tag2179.xml"/><Relationship Id="rId27" Type="http://schemas.openxmlformats.org/officeDocument/2006/relationships/tags" Target="../tags/tag2184.xml"/><Relationship Id="rId30" Type="http://schemas.openxmlformats.org/officeDocument/2006/relationships/tags" Target="../tags/tag2187.xml"/><Relationship Id="rId35" Type="http://schemas.openxmlformats.org/officeDocument/2006/relationships/tags" Target="../tags/tag2192.xml"/><Relationship Id="rId8" Type="http://schemas.openxmlformats.org/officeDocument/2006/relationships/tags" Target="../tags/tag2165.xml"/><Relationship Id="rId3" Type="http://schemas.openxmlformats.org/officeDocument/2006/relationships/tags" Target="../tags/tag2160.xml"/></Relationships>
</file>

<file path=ppt/slides/_rels/slide32.xml.rels><?xml version="1.0" encoding="UTF-8" standalone="yes"?>
<Relationships xmlns="http://schemas.openxmlformats.org/package/2006/relationships"><Relationship Id="rId13" Type="http://schemas.openxmlformats.org/officeDocument/2006/relationships/tags" Target="../tags/tag2206.xml"/><Relationship Id="rId18" Type="http://schemas.openxmlformats.org/officeDocument/2006/relationships/tags" Target="../tags/tag2211.xml"/><Relationship Id="rId26" Type="http://schemas.openxmlformats.org/officeDocument/2006/relationships/tags" Target="../tags/tag2219.xml"/><Relationship Id="rId39" Type="http://schemas.openxmlformats.org/officeDocument/2006/relationships/tags" Target="../tags/tag2232.xml"/><Relationship Id="rId21" Type="http://schemas.openxmlformats.org/officeDocument/2006/relationships/tags" Target="../tags/tag2214.xml"/><Relationship Id="rId34" Type="http://schemas.openxmlformats.org/officeDocument/2006/relationships/tags" Target="../tags/tag2227.xml"/><Relationship Id="rId42" Type="http://schemas.openxmlformats.org/officeDocument/2006/relationships/tags" Target="../tags/tag2235.xml"/><Relationship Id="rId47" Type="http://schemas.openxmlformats.org/officeDocument/2006/relationships/tags" Target="../tags/tag2240.xml"/><Relationship Id="rId50" Type="http://schemas.openxmlformats.org/officeDocument/2006/relationships/image" Target="../media/image1.emf"/><Relationship Id="rId7" Type="http://schemas.openxmlformats.org/officeDocument/2006/relationships/tags" Target="../tags/tag2200.xml"/><Relationship Id="rId2" Type="http://schemas.openxmlformats.org/officeDocument/2006/relationships/tags" Target="../tags/tag2195.xml"/><Relationship Id="rId16" Type="http://schemas.openxmlformats.org/officeDocument/2006/relationships/tags" Target="../tags/tag2209.xml"/><Relationship Id="rId29" Type="http://schemas.openxmlformats.org/officeDocument/2006/relationships/tags" Target="../tags/tag2222.xml"/><Relationship Id="rId11" Type="http://schemas.openxmlformats.org/officeDocument/2006/relationships/tags" Target="../tags/tag2204.xml"/><Relationship Id="rId24" Type="http://schemas.openxmlformats.org/officeDocument/2006/relationships/tags" Target="../tags/tag2217.xml"/><Relationship Id="rId32" Type="http://schemas.openxmlformats.org/officeDocument/2006/relationships/tags" Target="../tags/tag2225.xml"/><Relationship Id="rId37" Type="http://schemas.openxmlformats.org/officeDocument/2006/relationships/tags" Target="../tags/tag2230.xml"/><Relationship Id="rId40" Type="http://schemas.openxmlformats.org/officeDocument/2006/relationships/tags" Target="../tags/tag2233.xml"/><Relationship Id="rId45" Type="http://schemas.openxmlformats.org/officeDocument/2006/relationships/tags" Target="../tags/tag2238.xml"/><Relationship Id="rId5" Type="http://schemas.openxmlformats.org/officeDocument/2006/relationships/tags" Target="../tags/tag2198.xml"/><Relationship Id="rId15" Type="http://schemas.openxmlformats.org/officeDocument/2006/relationships/tags" Target="../tags/tag2208.xml"/><Relationship Id="rId23" Type="http://schemas.openxmlformats.org/officeDocument/2006/relationships/tags" Target="../tags/tag2216.xml"/><Relationship Id="rId28" Type="http://schemas.openxmlformats.org/officeDocument/2006/relationships/tags" Target="../tags/tag2221.xml"/><Relationship Id="rId36" Type="http://schemas.openxmlformats.org/officeDocument/2006/relationships/tags" Target="../tags/tag2229.xml"/><Relationship Id="rId49" Type="http://schemas.openxmlformats.org/officeDocument/2006/relationships/oleObject" Target="../embeddings/oleObject33.bin"/><Relationship Id="rId10" Type="http://schemas.openxmlformats.org/officeDocument/2006/relationships/tags" Target="../tags/tag2203.xml"/><Relationship Id="rId19" Type="http://schemas.openxmlformats.org/officeDocument/2006/relationships/tags" Target="../tags/tag2212.xml"/><Relationship Id="rId31" Type="http://schemas.openxmlformats.org/officeDocument/2006/relationships/tags" Target="../tags/tag2224.xml"/><Relationship Id="rId44" Type="http://schemas.openxmlformats.org/officeDocument/2006/relationships/tags" Target="../tags/tag2237.xml"/><Relationship Id="rId4" Type="http://schemas.openxmlformats.org/officeDocument/2006/relationships/tags" Target="../tags/tag2197.xml"/><Relationship Id="rId9" Type="http://schemas.openxmlformats.org/officeDocument/2006/relationships/tags" Target="../tags/tag2202.xml"/><Relationship Id="rId14" Type="http://schemas.openxmlformats.org/officeDocument/2006/relationships/tags" Target="../tags/tag2207.xml"/><Relationship Id="rId22" Type="http://schemas.openxmlformats.org/officeDocument/2006/relationships/tags" Target="../tags/tag2215.xml"/><Relationship Id="rId27" Type="http://schemas.openxmlformats.org/officeDocument/2006/relationships/tags" Target="../tags/tag2220.xml"/><Relationship Id="rId30" Type="http://schemas.openxmlformats.org/officeDocument/2006/relationships/tags" Target="../tags/tag2223.xml"/><Relationship Id="rId35" Type="http://schemas.openxmlformats.org/officeDocument/2006/relationships/tags" Target="../tags/tag2228.xml"/><Relationship Id="rId43" Type="http://schemas.openxmlformats.org/officeDocument/2006/relationships/tags" Target="../tags/tag2236.xml"/><Relationship Id="rId48" Type="http://schemas.openxmlformats.org/officeDocument/2006/relationships/slideLayout" Target="../slideLayouts/slideLayout2.xml"/><Relationship Id="rId8" Type="http://schemas.openxmlformats.org/officeDocument/2006/relationships/tags" Target="../tags/tag2201.xml"/><Relationship Id="rId51" Type="http://schemas.openxmlformats.org/officeDocument/2006/relationships/chart" Target="../charts/chart30.xml"/><Relationship Id="rId3" Type="http://schemas.openxmlformats.org/officeDocument/2006/relationships/tags" Target="../tags/tag2196.xml"/><Relationship Id="rId12" Type="http://schemas.openxmlformats.org/officeDocument/2006/relationships/tags" Target="../tags/tag2205.xml"/><Relationship Id="rId17" Type="http://schemas.openxmlformats.org/officeDocument/2006/relationships/tags" Target="../tags/tag2210.xml"/><Relationship Id="rId25" Type="http://schemas.openxmlformats.org/officeDocument/2006/relationships/tags" Target="../tags/tag2218.xml"/><Relationship Id="rId33" Type="http://schemas.openxmlformats.org/officeDocument/2006/relationships/tags" Target="../tags/tag2226.xml"/><Relationship Id="rId38" Type="http://schemas.openxmlformats.org/officeDocument/2006/relationships/tags" Target="../tags/tag2231.xml"/><Relationship Id="rId46" Type="http://schemas.openxmlformats.org/officeDocument/2006/relationships/tags" Target="../tags/tag2239.xml"/><Relationship Id="rId20" Type="http://schemas.openxmlformats.org/officeDocument/2006/relationships/tags" Target="../tags/tag2213.xml"/><Relationship Id="rId41" Type="http://schemas.openxmlformats.org/officeDocument/2006/relationships/tags" Target="../tags/tag2234.xml"/><Relationship Id="rId1" Type="http://schemas.openxmlformats.org/officeDocument/2006/relationships/tags" Target="../tags/tag2194.xml"/><Relationship Id="rId6" Type="http://schemas.openxmlformats.org/officeDocument/2006/relationships/tags" Target="../tags/tag2199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4.bin"/><Relationship Id="rId3" Type="http://schemas.openxmlformats.org/officeDocument/2006/relationships/tags" Target="../tags/tag2243.xml"/><Relationship Id="rId7" Type="http://schemas.openxmlformats.org/officeDocument/2006/relationships/notesSlide" Target="../notesSlides/notesSlide29.xml"/><Relationship Id="rId2" Type="http://schemas.openxmlformats.org/officeDocument/2006/relationships/tags" Target="../tags/tag2242.xml"/><Relationship Id="rId1" Type="http://schemas.openxmlformats.org/officeDocument/2006/relationships/tags" Target="../tags/tag2241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2245.xml"/><Relationship Id="rId4" Type="http://schemas.openxmlformats.org/officeDocument/2006/relationships/tags" Target="../tags/tag2244.xml"/><Relationship Id="rId9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13" Type="http://schemas.openxmlformats.org/officeDocument/2006/relationships/tags" Target="../tags/tag2258.xml"/><Relationship Id="rId18" Type="http://schemas.openxmlformats.org/officeDocument/2006/relationships/tags" Target="../tags/tag2263.xml"/><Relationship Id="rId26" Type="http://schemas.openxmlformats.org/officeDocument/2006/relationships/tags" Target="../tags/tag2271.xml"/><Relationship Id="rId39" Type="http://schemas.openxmlformats.org/officeDocument/2006/relationships/tags" Target="../tags/tag2284.xml"/><Relationship Id="rId21" Type="http://schemas.openxmlformats.org/officeDocument/2006/relationships/tags" Target="../tags/tag2266.xml"/><Relationship Id="rId34" Type="http://schemas.openxmlformats.org/officeDocument/2006/relationships/tags" Target="../tags/tag2279.xml"/><Relationship Id="rId42" Type="http://schemas.openxmlformats.org/officeDocument/2006/relationships/notesSlide" Target="../notesSlides/notesSlide30.xml"/><Relationship Id="rId7" Type="http://schemas.openxmlformats.org/officeDocument/2006/relationships/tags" Target="../tags/tag2252.xml"/><Relationship Id="rId2" Type="http://schemas.openxmlformats.org/officeDocument/2006/relationships/tags" Target="../tags/tag2247.xml"/><Relationship Id="rId16" Type="http://schemas.openxmlformats.org/officeDocument/2006/relationships/tags" Target="../tags/tag2261.xml"/><Relationship Id="rId29" Type="http://schemas.openxmlformats.org/officeDocument/2006/relationships/tags" Target="../tags/tag2274.xml"/><Relationship Id="rId1" Type="http://schemas.openxmlformats.org/officeDocument/2006/relationships/tags" Target="../tags/tag2246.xml"/><Relationship Id="rId6" Type="http://schemas.openxmlformats.org/officeDocument/2006/relationships/tags" Target="../tags/tag2251.xml"/><Relationship Id="rId11" Type="http://schemas.openxmlformats.org/officeDocument/2006/relationships/tags" Target="../tags/tag2256.xml"/><Relationship Id="rId24" Type="http://schemas.openxmlformats.org/officeDocument/2006/relationships/tags" Target="../tags/tag2269.xml"/><Relationship Id="rId32" Type="http://schemas.openxmlformats.org/officeDocument/2006/relationships/tags" Target="../tags/tag2277.xml"/><Relationship Id="rId37" Type="http://schemas.openxmlformats.org/officeDocument/2006/relationships/tags" Target="../tags/tag2282.xml"/><Relationship Id="rId40" Type="http://schemas.openxmlformats.org/officeDocument/2006/relationships/tags" Target="../tags/tag2285.xml"/><Relationship Id="rId45" Type="http://schemas.openxmlformats.org/officeDocument/2006/relationships/chart" Target="../charts/chart31.xml"/><Relationship Id="rId5" Type="http://schemas.openxmlformats.org/officeDocument/2006/relationships/tags" Target="../tags/tag2250.xml"/><Relationship Id="rId15" Type="http://schemas.openxmlformats.org/officeDocument/2006/relationships/tags" Target="../tags/tag2260.xml"/><Relationship Id="rId23" Type="http://schemas.openxmlformats.org/officeDocument/2006/relationships/tags" Target="../tags/tag2268.xml"/><Relationship Id="rId28" Type="http://schemas.openxmlformats.org/officeDocument/2006/relationships/tags" Target="../tags/tag2273.xml"/><Relationship Id="rId36" Type="http://schemas.openxmlformats.org/officeDocument/2006/relationships/tags" Target="../tags/tag2281.xml"/><Relationship Id="rId10" Type="http://schemas.openxmlformats.org/officeDocument/2006/relationships/tags" Target="../tags/tag2255.xml"/><Relationship Id="rId19" Type="http://schemas.openxmlformats.org/officeDocument/2006/relationships/tags" Target="../tags/tag2264.xml"/><Relationship Id="rId31" Type="http://schemas.openxmlformats.org/officeDocument/2006/relationships/tags" Target="../tags/tag2276.xml"/><Relationship Id="rId44" Type="http://schemas.openxmlformats.org/officeDocument/2006/relationships/image" Target="../media/image1.emf"/><Relationship Id="rId4" Type="http://schemas.openxmlformats.org/officeDocument/2006/relationships/tags" Target="../tags/tag2249.xml"/><Relationship Id="rId9" Type="http://schemas.openxmlformats.org/officeDocument/2006/relationships/tags" Target="../tags/tag2254.xml"/><Relationship Id="rId14" Type="http://schemas.openxmlformats.org/officeDocument/2006/relationships/tags" Target="../tags/tag2259.xml"/><Relationship Id="rId22" Type="http://schemas.openxmlformats.org/officeDocument/2006/relationships/tags" Target="../tags/tag2267.xml"/><Relationship Id="rId27" Type="http://schemas.openxmlformats.org/officeDocument/2006/relationships/tags" Target="../tags/tag2272.xml"/><Relationship Id="rId30" Type="http://schemas.openxmlformats.org/officeDocument/2006/relationships/tags" Target="../tags/tag2275.xml"/><Relationship Id="rId35" Type="http://schemas.openxmlformats.org/officeDocument/2006/relationships/tags" Target="../tags/tag2280.xml"/><Relationship Id="rId43" Type="http://schemas.openxmlformats.org/officeDocument/2006/relationships/oleObject" Target="../embeddings/oleObject35.bin"/><Relationship Id="rId8" Type="http://schemas.openxmlformats.org/officeDocument/2006/relationships/tags" Target="../tags/tag2253.xml"/><Relationship Id="rId3" Type="http://schemas.openxmlformats.org/officeDocument/2006/relationships/tags" Target="../tags/tag2248.xml"/><Relationship Id="rId12" Type="http://schemas.openxmlformats.org/officeDocument/2006/relationships/tags" Target="../tags/tag2257.xml"/><Relationship Id="rId17" Type="http://schemas.openxmlformats.org/officeDocument/2006/relationships/tags" Target="../tags/tag2262.xml"/><Relationship Id="rId25" Type="http://schemas.openxmlformats.org/officeDocument/2006/relationships/tags" Target="../tags/tag2270.xml"/><Relationship Id="rId33" Type="http://schemas.openxmlformats.org/officeDocument/2006/relationships/tags" Target="../tags/tag2278.xml"/><Relationship Id="rId38" Type="http://schemas.openxmlformats.org/officeDocument/2006/relationships/tags" Target="../tags/tag2283.xml"/><Relationship Id="rId20" Type="http://schemas.openxmlformats.org/officeDocument/2006/relationships/tags" Target="../tags/tag2265.xml"/><Relationship Id="rId4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86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81.xml"/><Relationship Id="rId21" Type="http://schemas.openxmlformats.org/officeDocument/2006/relationships/tags" Target="../tags/tag76.xml"/><Relationship Id="rId42" Type="http://schemas.openxmlformats.org/officeDocument/2006/relationships/tags" Target="../tags/tag97.xml"/><Relationship Id="rId47" Type="http://schemas.openxmlformats.org/officeDocument/2006/relationships/tags" Target="../tags/tag102.xml"/><Relationship Id="rId63" Type="http://schemas.openxmlformats.org/officeDocument/2006/relationships/tags" Target="../tags/tag118.xml"/><Relationship Id="rId68" Type="http://schemas.openxmlformats.org/officeDocument/2006/relationships/tags" Target="../tags/tag123.xml"/><Relationship Id="rId16" Type="http://schemas.openxmlformats.org/officeDocument/2006/relationships/tags" Target="../tags/tag71.xml"/><Relationship Id="rId11" Type="http://schemas.openxmlformats.org/officeDocument/2006/relationships/tags" Target="../tags/tag66.xml"/><Relationship Id="rId32" Type="http://schemas.openxmlformats.org/officeDocument/2006/relationships/tags" Target="../tags/tag87.xml"/><Relationship Id="rId37" Type="http://schemas.openxmlformats.org/officeDocument/2006/relationships/tags" Target="../tags/tag92.xml"/><Relationship Id="rId53" Type="http://schemas.openxmlformats.org/officeDocument/2006/relationships/tags" Target="../tags/tag108.xml"/><Relationship Id="rId58" Type="http://schemas.openxmlformats.org/officeDocument/2006/relationships/tags" Target="../tags/tag113.xml"/><Relationship Id="rId74" Type="http://schemas.openxmlformats.org/officeDocument/2006/relationships/tags" Target="../tags/tag129.xml"/><Relationship Id="rId79" Type="http://schemas.openxmlformats.org/officeDocument/2006/relationships/notesSlide" Target="../notesSlides/notesSlide2.xml"/><Relationship Id="rId5" Type="http://schemas.openxmlformats.org/officeDocument/2006/relationships/tags" Target="../tags/tag60.xml"/><Relationship Id="rId61" Type="http://schemas.openxmlformats.org/officeDocument/2006/relationships/tags" Target="../tags/tag116.xml"/><Relationship Id="rId82" Type="http://schemas.openxmlformats.org/officeDocument/2006/relationships/chart" Target="../charts/chart2.xml"/><Relationship Id="rId19" Type="http://schemas.openxmlformats.org/officeDocument/2006/relationships/tags" Target="../tags/tag74.xml"/><Relationship Id="rId14" Type="http://schemas.openxmlformats.org/officeDocument/2006/relationships/tags" Target="../tags/tag69.xml"/><Relationship Id="rId22" Type="http://schemas.openxmlformats.org/officeDocument/2006/relationships/tags" Target="../tags/tag77.xml"/><Relationship Id="rId27" Type="http://schemas.openxmlformats.org/officeDocument/2006/relationships/tags" Target="../tags/tag82.xml"/><Relationship Id="rId30" Type="http://schemas.openxmlformats.org/officeDocument/2006/relationships/tags" Target="../tags/tag85.xml"/><Relationship Id="rId35" Type="http://schemas.openxmlformats.org/officeDocument/2006/relationships/tags" Target="../tags/tag90.xml"/><Relationship Id="rId43" Type="http://schemas.openxmlformats.org/officeDocument/2006/relationships/tags" Target="../tags/tag98.xml"/><Relationship Id="rId48" Type="http://schemas.openxmlformats.org/officeDocument/2006/relationships/tags" Target="../tags/tag103.xml"/><Relationship Id="rId56" Type="http://schemas.openxmlformats.org/officeDocument/2006/relationships/tags" Target="../tags/tag111.xml"/><Relationship Id="rId64" Type="http://schemas.openxmlformats.org/officeDocument/2006/relationships/tags" Target="../tags/tag119.xml"/><Relationship Id="rId69" Type="http://schemas.openxmlformats.org/officeDocument/2006/relationships/tags" Target="../tags/tag124.xml"/><Relationship Id="rId77" Type="http://schemas.openxmlformats.org/officeDocument/2006/relationships/tags" Target="../tags/tag132.xml"/><Relationship Id="rId8" Type="http://schemas.openxmlformats.org/officeDocument/2006/relationships/tags" Target="../tags/tag63.xml"/><Relationship Id="rId51" Type="http://schemas.openxmlformats.org/officeDocument/2006/relationships/tags" Target="../tags/tag106.xml"/><Relationship Id="rId72" Type="http://schemas.openxmlformats.org/officeDocument/2006/relationships/tags" Target="../tags/tag127.xml"/><Relationship Id="rId80" Type="http://schemas.openxmlformats.org/officeDocument/2006/relationships/oleObject" Target="../embeddings/oleObject5.bin"/><Relationship Id="rId3" Type="http://schemas.openxmlformats.org/officeDocument/2006/relationships/tags" Target="../tags/tag58.xml"/><Relationship Id="rId12" Type="http://schemas.openxmlformats.org/officeDocument/2006/relationships/tags" Target="../tags/tag67.xml"/><Relationship Id="rId17" Type="http://schemas.openxmlformats.org/officeDocument/2006/relationships/tags" Target="../tags/tag72.xml"/><Relationship Id="rId25" Type="http://schemas.openxmlformats.org/officeDocument/2006/relationships/tags" Target="../tags/tag80.xml"/><Relationship Id="rId33" Type="http://schemas.openxmlformats.org/officeDocument/2006/relationships/tags" Target="../tags/tag88.xml"/><Relationship Id="rId38" Type="http://schemas.openxmlformats.org/officeDocument/2006/relationships/tags" Target="../tags/tag93.xml"/><Relationship Id="rId46" Type="http://schemas.openxmlformats.org/officeDocument/2006/relationships/tags" Target="../tags/tag101.xml"/><Relationship Id="rId59" Type="http://schemas.openxmlformats.org/officeDocument/2006/relationships/tags" Target="../tags/tag114.xml"/><Relationship Id="rId67" Type="http://schemas.openxmlformats.org/officeDocument/2006/relationships/tags" Target="../tags/tag122.xml"/><Relationship Id="rId20" Type="http://schemas.openxmlformats.org/officeDocument/2006/relationships/tags" Target="../tags/tag75.xml"/><Relationship Id="rId41" Type="http://schemas.openxmlformats.org/officeDocument/2006/relationships/tags" Target="../tags/tag96.xml"/><Relationship Id="rId54" Type="http://schemas.openxmlformats.org/officeDocument/2006/relationships/tags" Target="../tags/tag109.xml"/><Relationship Id="rId62" Type="http://schemas.openxmlformats.org/officeDocument/2006/relationships/tags" Target="../tags/tag117.xml"/><Relationship Id="rId70" Type="http://schemas.openxmlformats.org/officeDocument/2006/relationships/tags" Target="../tags/tag125.xml"/><Relationship Id="rId75" Type="http://schemas.openxmlformats.org/officeDocument/2006/relationships/tags" Target="../tags/tag130.xml"/><Relationship Id="rId1" Type="http://schemas.openxmlformats.org/officeDocument/2006/relationships/tags" Target="../tags/tag56.xml"/><Relationship Id="rId6" Type="http://schemas.openxmlformats.org/officeDocument/2006/relationships/tags" Target="../tags/tag61.xml"/><Relationship Id="rId15" Type="http://schemas.openxmlformats.org/officeDocument/2006/relationships/tags" Target="../tags/tag70.xml"/><Relationship Id="rId23" Type="http://schemas.openxmlformats.org/officeDocument/2006/relationships/tags" Target="../tags/tag78.xml"/><Relationship Id="rId28" Type="http://schemas.openxmlformats.org/officeDocument/2006/relationships/tags" Target="../tags/tag83.xml"/><Relationship Id="rId36" Type="http://schemas.openxmlformats.org/officeDocument/2006/relationships/tags" Target="../tags/tag91.xml"/><Relationship Id="rId49" Type="http://schemas.openxmlformats.org/officeDocument/2006/relationships/tags" Target="../tags/tag104.xml"/><Relationship Id="rId57" Type="http://schemas.openxmlformats.org/officeDocument/2006/relationships/tags" Target="../tags/tag112.xml"/><Relationship Id="rId10" Type="http://schemas.openxmlformats.org/officeDocument/2006/relationships/tags" Target="../tags/tag65.xml"/><Relationship Id="rId31" Type="http://schemas.openxmlformats.org/officeDocument/2006/relationships/tags" Target="../tags/tag86.xml"/><Relationship Id="rId44" Type="http://schemas.openxmlformats.org/officeDocument/2006/relationships/tags" Target="../tags/tag99.xml"/><Relationship Id="rId52" Type="http://schemas.openxmlformats.org/officeDocument/2006/relationships/tags" Target="../tags/tag107.xml"/><Relationship Id="rId60" Type="http://schemas.openxmlformats.org/officeDocument/2006/relationships/tags" Target="../tags/tag115.xml"/><Relationship Id="rId65" Type="http://schemas.openxmlformats.org/officeDocument/2006/relationships/tags" Target="../tags/tag120.xml"/><Relationship Id="rId73" Type="http://schemas.openxmlformats.org/officeDocument/2006/relationships/tags" Target="../tags/tag128.xml"/><Relationship Id="rId78" Type="http://schemas.openxmlformats.org/officeDocument/2006/relationships/slideLayout" Target="../slideLayouts/slideLayout2.xml"/><Relationship Id="rId81" Type="http://schemas.openxmlformats.org/officeDocument/2006/relationships/image" Target="../media/image1.emf"/><Relationship Id="rId4" Type="http://schemas.openxmlformats.org/officeDocument/2006/relationships/tags" Target="../tags/tag59.xml"/><Relationship Id="rId9" Type="http://schemas.openxmlformats.org/officeDocument/2006/relationships/tags" Target="../tags/tag64.xml"/><Relationship Id="rId13" Type="http://schemas.openxmlformats.org/officeDocument/2006/relationships/tags" Target="../tags/tag68.xml"/><Relationship Id="rId18" Type="http://schemas.openxmlformats.org/officeDocument/2006/relationships/tags" Target="../tags/tag73.xml"/><Relationship Id="rId39" Type="http://schemas.openxmlformats.org/officeDocument/2006/relationships/tags" Target="../tags/tag94.xml"/><Relationship Id="rId34" Type="http://schemas.openxmlformats.org/officeDocument/2006/relationships/tags" Target="../tags/tag89.xml"/><Relationship Id="rId50" Type="http://schemas.openxmlformats.org/officeDocument/2006/relationships/tags" Target="../tags/tag105.xml"/><Relationship Id="rId55" Type="http://schemas.openxmlformats.org/officeDocument/2006/relationships/tags" Target="../tags/tag110.xml"/><Relationship Id="rId76" Type="http://schemas.openxmlformats.org/officeDocument/2006/relationships/tags" Target="../tags/tag131.xml"/><Relationship Id="rId7" Type="http://schemas.openxmlformats.org/officeDocument/2006/relationships/tags" Target="../tags/tag62.xml"/><Relationship Id="rId71" Type="http://schemas.openxmlformats.org/officeDocument/2006/relationships/tags" Target="../tags/tag126.xml"/><Relationship Id="rId2" Type="http://schemas.openxmlformats.org/officeDocument/2006/relationships/tags" Target="../tags/tag57.xml"/><Relationship Id="rId29" Type="http://schemas.openxmlformats.org/officeDocument/2006/relationships/tags" Target="../tags/tag84.xml"/><Relationship Id="rId24" Type="http://schemas.openxmlformats.org/officeDocument/2006/relationships/tags" Target="../tags/tag79.xml"/><Relationship Id="rId40" Type="http://schemas.openxmlformats.org/officeDocument/2006/relationships/tags" Target="../tags/tag95.xml"/><Relationship Id="rId45" Type="http://schemas.openxmlformats.org/officeDocument/2006/relationships/tags" Target="../tags/tag100.xml"/><Relationship Id="rId66" Type="http://schemas.openxmlformats.org/officeDocument/2006/relationships/tags" Target="../tags/tag121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45.xml"/><Relationship Id="rId18" Type="http://schemas.openxmlformats.org/officeDocument/2006/relationships/tags" Target="../tags/tag150.xml"/><Relationship Id="rId26" Type="http://schemas.openxmlformats.org/officeDocument/2006/relationships/tags" Target="../tags/tag158.xml"/><Relationship Id="rId39" Type="http://schemas.openxmlformats.org/officeDocument/2006/relationships/tags" Target="../tags/tag171.xml"/><Relationship Id="rId21" Type="http://schemas.openxmlformats.org/officeDocument/2006/relationships/tags" Target="../tags/tag153.xml"/><Relationship Id="rId34" Type="http://schemas.openxmlformats.org/officeDocument/2006/relationships/tags" Target="../tags/tag166.xml"/><Relationship Id="rId42" Type="http://schemas.openxmlformats.org/officeDocument/2006/relationships/tags" Target="../tags/tag174.xml"/><Relationship Id="rId47" Type="http://schemas.openxmlformats.org/officeDocument/2006/relationships/image" Target="../media/image1.emf"/><Relationship Id="rId7" Type="http://schemas.openxmlformats.org/officeDocument/2006/relationships/tags" Target="../tags/tag139.xml"/><Relationship Id="rId2" Type="http://schemas.openxmlformats.org/officeDocument/2006/relationships/tags" Target="../tags/tag134.xml"/><Relationship Id="rId16" Type="http://schemas.openxmlformats.org/officeDocument/2006/relationships/tags" Target="../tags/tag148.xml"/><Relationship Id="rId29" Type="http://schemas.openxmlformats.org/officeDocument/2006/relationships/tags" Target="../tags/tag161.xml"/><Relationship Id="rId1" Type="http://schemas.openxmlformats.org/officeDocument/2006/relationships/tags" Target="../tags/tag133.xml"/><Relationship Id="rId6" Type="http://schemas.openxmlformats.org/officeDocument/2006/relationships/tags" Target="../tags/tag138.xml"/><Relationship Id="rId11" Type="http://schemas.openxmlformats.org/officeDocument/2006/relationships/tags" Target="../tags/tag143.xml"/><Relationship Id="rId24" Type="http://schemas.openxmlformats.org/officeDocument/2006/relationships/tags" Target="../tags/tag156.xml"/><Relationship Id="rId32" Type="http://schemas.openxmlformats.org/officeDocument/2006/relationships/tags" Target="../tags/tag164.xml"/><Relationship Id="rId37" Type="http://schemas.openxmlformats.org/officeDocument/2006/relationships/tags" Target="../tags/tag169.xml"/><Relationship Id="rId40" Type="http://schemas.openxmlformats.org/officeDocument/2006/relationships/tags" Target="../tags/tag172.xml"/><Relationship Id="rId45" Type="http://schemas.openxmlformats.org/officeDocument/2006/relationships/notesSlide" Target="../notesSlides/notesSlide3.xml"/><Relationship Id="rId5" Type="http://schemas.openxmlformats.org/officeDocument/2006/relationships/tags" Target="../tags/tag137.xml"/><Relationship Id="rId15" Type="http://schemas.openxmlformats.org/officeDocument/2006/relationships/tags" Target="../tags/tag147.xml"/><Relationship Id="rId23" Type="http://schemas.openxmlformats.org/officeDocument/2006/relationships/tags" Target="../tags/tag155.xml"/><Relationship Id="rId28" Type="http://schemas.openxmlformats.org/officeDocument/2006/relationships/tags" Target="../tags/tag160.xml"/><Relationship Id="rId36" Type="http://schemas.openxmlformats.org/officeDocument/2006/relationships/tags" Target="../tags/tag168.xml"/><Relationship Id="rId10" Type="http://schemas.openxmlformats.org/officeDocument/2006/relationships/tags" Target="../tags/tag142.xml"/><Relationship Id="rId19" Type="http://schemas.openxmlformats.org/officeDocument/2006/relationships/tags" Target="../tags/tag151.xml"/><Relationship Id="rId31" Type="http://schemas.openxmlformats.org/officeDocument/2006/relationships/tags" Target="../tags/tag163.xml"/><Relationship Id="rId44" Type="http://schemas.openxmlformats.org/officeDocument/2006/relationships/slideLayout" Target="../slideLayouts/slideLayout2.xml"/><Relationship Id="rId4" Type="http://schemas.openxmlformats.org/officeDocument/2006/relationships/tags" Target="../tags/tag136.xml"/><Relationship Id="rId9" Type="http://schemas.openxmlformats.org/officeDocument/2006/relationships/tags" Target="../tags/tag141.xml"/><Relationship Id="rId14" Type="http://schemas.openxmlformats.org/officeDocument/2006/relationships/tags" Target="../tags/tag146.xml"/><Relationship Id="rId22" Type="http://schemas.openxmlformats.org/officeDocument/2006/relationships/tags" Target="../tags/tag154.xml"/><Relationship Id="rId27" Type="http://schemas.openxmlformats.org/officeDocument/2006/relationships/tags" Target="../tags/tag159.xml"/><Relationship Id="rId30" Type="http://schemas.openxmlformats.org/officeDocument/2006/relationships/tags" Target="../tags/tag162.xml"/><Relationship Id="rId35" Type="http://schemas.openxmlformats.org/officeDocument/2006/relationships/tags" Target="../tags/tag167.xml"/><Relationship Id="rId43" Type="http://schemas.openxmlformats.org/officeDocument/2006/relationships/tags" Target="../tags/tag175.xml"/><Relationship Id="rId48" Type="http://schemas.openxmlformats.org/officeDocument/2006/relationships/chart" Target="../charts/chart3.xml"/><Relationship Id="rId8" Type="http://schemas.openxmlformats.org/officeDocument/2006/relationships/tags" Target="../tags/tag140.xml"/><Relationship Id="rId3" Type="http://schemas.openxmlformats.org/officeDocument/2006/relationships/tags" Target="../tags/tag135.xml"/><Relationship Id="rId12" Type="http://schemas.openxmlformats.org/officeDocument/2006/relationships/tags" Target="../tags/tag144.xml"/><Relationship Id="rId17" Type="http://schemas.openxmlformats.org/officeDocument/2006/relationships/tags" Target="../tags/tag149.xml"/><Relationship Id="rId25" Type="http://schemas.openxmlformats.org/officeDocument/2006/relationships/tags" Target="../tags/tag157.xml"/><Relationship Id="rId33" Type="http://schemas.openxmlformats.org/officeDocument/2006/relationships/tags" Target="../tags/tag165.xml"/><Relationship Id="rId38" Type="http://schemas.openxmlformats.org/officeDocument/2006/relationships/tags" Target="../tags/tag170.xml"/><Relationship Id="rId46" Type="http://schemas.openxmlformats.org/officeDocument/2006/relationships/oleObject" Target="../embeddings/oleObject6.bin"/><Relationship Id="rId20" Type="http://schemas.openxmlformats.org/officeDocument/2006/relationships/tags" Target="../tags/tag152.xml"/><Relationship Id="rId41" Type="http://schemas.openxmlformats.org/officeDocument/2006/relationships/tags" Target="../tags/tag173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201.xml"/><Relationship Id="rId21" Type="http://schemas.openxmlformats.org/officeDocument/2006/relationships/tags" Target="../tags/tag196.xml"/><Relationship Id="rId42" Type="http://schemas.openxmlformats.org/officeDocument/2006/relationships/tags" Target="../tags/tag217.xml"/><Relationship Id="rId47" Type="http://schemas.openxmlformats.org/officeDocument/2006/relationships/tags" Target="../tags/tag222.xml"/><Relationship Id="rId63" Type="http://schemas.openxmlformats.org/officeDocument/2006/relationships/tags" Target="../tags/tag238.xml"/><Relationship Id="rId68" Type="http://schemas.openxmlformats.org/officeDocument/2006/relationships/tags" Target="../tags/tag243.xml"/><Relationship Id="rId16" Type="http://schemas.openxmlformats.org/officeDocument/2006/relationships/tags" Target="../tags/tag191.xml"/><Relationship Id="rId11" Type="http://schemas.openxmlformats.org/officeDocument/2006/relationships/tags" Target="../tags/tag186.xml"/><Relationship Id="rId32" Type="http://schemas.openxmlformats.org/officeDocument/2006/relationships/tags" Target="../tags/tag207.xml"/><Relationship Id="rId37" Type="http://schemas.openxmlformats.org/officeDocument/2006/relationships/tags" Target="../tags/tag212.xml"/><Relationship Id="rId53" Type="http://schemas.openxmlformats.org/officeDocument/2006/relationships/tags" Target="../tags/tag228.xml"/><Relationship Id="rId58" Type="http://schemas.openxmlformats.org/officeDocument/2006/relationships/tags" Target="../tags/tag233.xml"/><Relationship Id="rId74" Type="http://schemas.openxmlformats.org/officeDocument/2006/relationships/tags" Target="../tags/tag249.xml"/><Relationship Id="rId79" Type="http://schemas.openxmlformats.org/officeDocument/2006/relationships/oleObject" Target="../embeddings/oleObject7.bin"/><Relationship Id="rId5" Type="http://schemas.openxmlformats.org/officeDocument/2006/relationships/tags" Target="../tags/tag180.xml"/><Relationship Id="rId61" Type="http://schemas.openxmlformats.org/officeDocument/2006/relationships/tags" Target="../tags/tag236.xml"/><Relationship Id="rId19" Type="http://schemas.openxmlformats.org/officeDocument/2006/relationships/tags" Target="../tags/tag194.xml"/><Relationship Id="rId14" Type="http://schemas.openxmlformats.org/officeDocument/2006/relationships/tags" Target="../tags/tag189.xml"/><Relationship Id="rId22" Type="http://schemas.openxmlformats.org/officeDocument/2006/relationships/tags" Target="../tags/tag197.xml"/><Relationship Id="rId27" Type="http://schemas.openxmlformats.org/officeDocument/2006/relationships/tags" Target="../tags/tag202.xml"/><Relationship Id="rId30" Type="http://schemas.openxmlformats.org/officeDocument/2006/relationships/tags" Target="../tags/tag205.xml"/><Relationship Id="rId35" Type="http://schemas.openxmlformats.org/officeDocument/2006/relationships/tags" Target="../tags/tag210.xml"/><Relationship Id="rId43" Type="http://schemas.openxmlformats.org/officeDocument/2006/relationships/tags" Target="../tags/tag218.xml"/><Relationship Id="rId48" Type="http://schemas.openxmlformats.org/officeDocument/2006/relationships/tags" Target="../tags/tag223.xml"/><Relationship Id="rId56" Type="http://schemas.openxmlformats.org/officeDocument/2006/relationships/tags" Target="../tags/tag231.xml"/><Relationship Id="rId64" Type="http://schemas.openxmlformats.org/officeDocument/2006/relationships/tags" Target="../tags/tag239.xml"/><Relationship Id="rId69" Type="http://schemas.openxmlformats.org/officeDocument/2006/relationships/tags" Target="../tags/tag244.xml"/><Relationship Id="rId77" Type="http://schemas.openxmlformats.org/officeDocument/2006/relationships/slideLayout" Target="../slideLayouts/slideLayout2.xml"/><Relationship Id="rId8" Type="http://schemas.openxmlformats.org/officeDocument/2006/relationships/tags" Target="../tags/tag183.xml"/><Relationship Id="rId51" Type="http://schemas.openxmlformats.org/officeDocument/2006/relationships/tags" Target="../tags/tag226.xml"/><Relationship Id="rId72" Type="http://schemas.openxmlformats.org/officeDocument/2006/relationships/tags" Target="../tags/tag247.xml"/><Relationship Id="rId80" Type="http://schemas.openxmlformats.org/officeDocument/2006/relationships/image" Target="../media/image1.emf"/><Relationship Id="rId3" Type="http://schemas.openxmlformats.org/officeDocument/2006/relationships/tags" Target="../tags/tag178.xml"/><Relationship Id="rId12" Type="http://schemas.openxmlformats.org/officeDocument/2006/relationships/tags" Target="../tags/tag187.xml"/><Relationship Id="rId17" Type="http://schemas.openxmlformats.org/officeDocument/2006/relationships/tags" Target="../tags/tag192.xml"/><Relationship Id="rId25" Type="http://schemas.openxmlformats.org/officeDocument/2006/relationships/tags" Target="../tags/tag200.xml"/><Relationship Id="rId33" Type="http://schemas.openxmlformats.org/officeDocument/2006/relationships/tags" Target="../tags/tag208.xml"/><Relationship Id="rId38" Type="http://schemas.openxmlformats.org/officeDocument/2006/relationships/tags" Target="../tags/tag213.xml"/><Relationship Id="rId46" Type="http://schemas.openxmlformats.org/officeDocument/2006/relationships/tags" Target="../tags/tag221.xml"/><Relationship Id="rId59" Type="http://schemas.openxmlformats.org/officeDocument/2006/relationships/tags" Target="../tags/tag234.xml"/><Relationship Id="rId67" Type="http://schemas.openxmlformats.org/officeDocument/2006/relationships/tags" Target="../tags/tag242.xml"/><Relationship Id="rId20" Type="http://schemas.openxmlformats.org/officeDocument/2006/relationships/tags" Target="../tags/tag195.xml"/><Relationship Id="rId41" Type="http://schemas.openxmlformats.org/officeDocument/2006/relationships/tags" Target="../tags/tag216.xml"/><Relationship Id="rId54" Type="http://schemas.openxmlformats.org/officeDocument/2006/relationships/tags" Target="../tags/tag229.xml"/><Relationship Id="rId62" Type="http://schemas.openxmlformats.org/officeDocument/2006/relationships/tags" Target="../tags/tag237.xml"/><Relationship Id="rId70" Type="http://schemas.openxmlformats.org/officeDocument/2006/relationships/tags" Target="../tags/tag245.xml"/><Relationship Id="rId75" Type="http://schemas.openxmlformats.org/officeDocument/2006/relationships/tags" Target="../tags/tag250.xml"/><Relationship Id="rId1" Type="http://schemas.openxmlformats.org/officeDocument/2006/relationships/tags" Target="../tags/tag176.xml"/><Relationship Id="rId6" Type="http://schemas.openxmlformats.org/officeDocument/2006/relationships/tags" Target="../tags/tag181.xml"/><Relationship Id="rId15" Type="http://schemas.openxmlformats.org/officeDocument/2006/relationships/tags" Target="../tags/tag190.xml"/><Relationship Id="rId23" Type="http://schemas.openxmlformats.org/officeDocument/2006/relationships/tags" Target="../tags/tag198.xml"/><Relationship Id="rId28" Type="http://schemas.openxmlformats.org/officeDocument/2006/relationships/tags" Target="../tags/tag203.xml"/><Relationship Id="rId36" Type="http://schemas.openxmlformats.org/officeDocument/2006/relationships/tags" Target="../tags/tag211.xml"/><Relationship Id="rId49" Type="http://schemas.openxmlformats.org/officeDocument/2006/relationships/tags" Target="../tags/tag224.xml"/><Relationship Id="rId57" Type="http://schemas.openxmlformats.org/officeDocument/2006/relationships/tags" Target="../tags/tag232.xml"/><Relationship Id="rId10" Type="http://schemas.openxmlformats.org/officeDocument/2006/relationships/tags" Target="../tags/tag185.xml"/><Relationship Id="rId31" Type="http://schemas.openxmlformats.org/officeDocument/2006/relationships/tags" Target="../tags/tag206.xml"/><Relationship Id="rId44" Type="http://schemas.openxmlformats.org/officeDocument/2006/relationships/tags" Target="../tags/tag219.xml"/><Relationship Id="rId52" Type="http://schemas.openxmlformats.org/officeDocument/2006/relationships/tags" Target="../tags/tag227.xml"/><Relationship Id="rId60" Type="http://schemas.openxmlformats.org/officeDocument/2006/relationships/tags" Target="../tags/tag235.xml"/><Relationship Id="rId65" Type="http://schemas.openxmlformats.org/officeDocument/2006/relationships/tags" Target="../tags/tag240.xml"/><Relationship Id="rId73" Type="http://schemas.openxmlformats.org/officeDocument/2006/relationships/tags" Target="../tags/tag248.xml"/><Relationship Id="rId78" Type="http://schemas.openxmlformats.org/officeDocument/2006/relationships/notesSlide" Target="../notesSlides/notesSlide4.xml"/><Relationship Id="rId81" Type="http://schemas.openxmlformats.org/officeDocument/2006/relationships/chart" Target="../charts/chart4.xml"/><Relationship Id="rId4" Type="http://schemas.openxmlformats.org/officeDocument/2006/relationships/tags" Target="../tags/tag179.xml"/><Relationship Id="rId9" Type="http://schemas.openxmlformats.org/officeDocument/2006/relationships/tags" Target="../tags/tag184.xml"/><Relationship Id="rId13" Type="http://schemas.openxmlformats.org/officeDocument/2006/relationships/tags" Target="../tags/tag188.xml"/><Relationship Id="rId18" Type="http://schemas.openxmlformats.org/officeDocument/2006/relationships/tags" Target="../tags/tag193.xml"/><Relationship Id="rId39" Type="http://schemas.openxmlformats.org/officeDocument/2006/relationships/tags" Target="../tags/tag214.xml"/><Relationship Id="rId34" Type="http://schemas.openxmlformats.org/officeDocument/2006/relationships/tags" Target="../tags/tag209.xml"/><Relationship Id="rId50" Type="http://schemas.openxmlformats.org/officeDocument/2006/relationships/tags" Target="../tags/tag225.xml"/><Relationship Id="rId55" Type="http://schemas.openxmlformats.org/officeDocument/2006/relationships/tags" Target="../tags/tag230.xml"/><Relationship Id="rId76" Type="http://schemas.openxmlformats.org/officeDocument/2006/relationships/tags" Target="../tags/tag251.xml"/><Relationship Id="rId7" Type="http://schemas.openxmlformats.org/officeDocument/2006/relationships/tags" Target="../tags/tag182.xml"/><Relationship Id="rId71" Type="http://schemas.openxmlformats.org/officeDocument/2006/relationships/tags" Target="../tags/tag246.xml"/><Relationship Id="rId2" Type="http://schemas.openxmlformats.org/officeDocument/2006/relationships/tags" Target="../tags/tag177.xml"/><Relationship Id="rId29" Type="http://schemas.openxmlformats.org/officeDocument/2006/relationships/tags" Target="../tags/tag204.xml"/><Relationship Id="rId24" Type="http://schemas.openxmlformats.org/officeDocument/2006/relationships/tags" Target="../tags/tag199.xml"/><Relationship Id="rId40" Type="http://schemas.openxmlformats.org/officeDocument/2006/relationships/tags" Target="../tags/tag215.xml"/><Relationship Id="rId45" Type="http://schemas.openxmlformats.org/officeDocument/2006/relationships/tags" Target="../tags/tag220.xml"/><Relationship Id="rId66" Type="http://schemas.openxmlformats.org/officeDocument/2006/relationships/tags" Target="../tags/tag241.xml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64.xml"/><Relationship Id="rId18" Type="http://schemas.openxmlformats.org/officeDocument/2006/relationships/tags" Target="../tags/tag269.xml"/><Relationship Id="rId26" Type="http://schemas.openxmlformats.org/officeDocument/2006/relationships/tags" Target="../tags/tag277.xml"/><Relationship Id="rId39" Type="http://schemas.openxmlformats.org/officeDocument/2006/relationships/image" Target="../media/image1.emf"/><Relationship Id="rId21" Type="http://schemas.openxmlformats.org/officeDocument/2006/relationships/tags" Target="../tags/tag272.xml"/><Relationship Id="rId34" Type="http://schemas.openxmlformats.org/officeDocument/2006/relationships/tags" Target="../tags/tag285.xml"/><Relationship Id="rId7" Type="http://schemas.openxmlformats.org/officeDocument/2006/relationships/tags" Target="../tags/tag258.xml"/><Relationship Id="rId12" Type="http://schemas.openxmlformats.org/officeDocument/2006/relationships/tags" Target="../tags/tag263.xml"/><Relationship Id="rId17" Type="http://schemas.openxmlformats.org/officeDocument/2006/relationships/tags" Target="../tags/tag268.xml"/><Relationship Id="rId25" Type="http://schemas.openxmlformats.org/officeDocument/2006/relationships/tags" Target="../tags/tag276.xml"/><Relationship Id="rId33" Type="http://schemas.openxmlformats.org/officeDocument/2006/relationships/tags" Target="../tags/tag284.xml"/><Relationship Id="rId38" Type="http://schemas.openxmlformats.org/officeDocument/2006/relationships/oleObject" Target="../embeddings/oleObject8.bin"/><Relationship Id="rId2" Type="http://schemas.openxmlformats.org/officeDocument/2006/relationships/tags" Target="../tags/tag253.xml"/><Relationship Id="rId16" Type="http://schemas.openxmlformats.org/officeDocument/2006/relationships/tags" Target="../tags/tag267.xml"/><Relationship Id="rId20" Type="http://schemas.openxmlformats.org/officeDocument/2006/relationships/tags" Target="../tags/tag271.xml"/><Relationship Id="rId29" Type="http://schemas.openxmlformats.org/officeDocument/2006/relationships/tags" Target="../tags/tag280.xml"/><Relationship Id="rId1" Type="http://schemas.openxmlformats.org/officeDocument/2006/relationships/tags" Target="../tags/tag252.xml"/><Relationship Id="rId6" Type="http://schemas.openxmlformats.org/officeDocument/2006/relationships/tags" Target="../tags/tag257.xml"/><Relationship Id="rId11" Type="http://schemas.openxmlformats.org/officeDocument/2006/relationships/tags" Target="../tags/tag262.xml"/><Relationship Id="rId24" Type="http://schemas.openxmlformats.org/officeDocument/2006/relationships/tags" Target="../tags/tag275.xml"/><Relationship Id="rId32" Type="http://schemas.openxmlformats.org/officeDocument/2006/relationships/tags" Target="../tags/tag283.xml"/><Relationship Id="rId37" Type="http://schemas.openxmlformats.org/officeDocument/2006/relationships/notesSlide" Target="../notesSlides/notesSlide5.xml"/><Relationship Id="rId40" Type="http://schemas.openxmlformats.org/officeDocument/2006/relationships/chart" Target="../charts/chart5.xml"/><Relationship Id="rId5" Type="http://schemas.openxmlformats.org/officeDocument/2006/relationships/tags" Target="../tags/tag256.xml"/><Relationship Id="rId15" Type="http://schemas.openxmlformats.org/officeDocument/2006/relationships/tags" Target="../tags/tag266.xml"/><Relationship Id="rId23" Type="http://schemas.openxmlformats.org/officeDocument/2006/relationships/tags" Target="../tags/tag274.xml"/><Relationship Id="rId28" Type="http://schemas.openxmlformats.org/officeDocument/2006/relationships/tags" Target="../tags/tag279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261.xml"/><Relationship Id="rId19" Type="http://schemas.openxmlformats.org/officeDocument/2006/relationships/tags" Target="../tags/tag270.xml"/><Relationship Id="rId31" Type="http://schemas.openxmlformats.org/officeDocument/2006/relationships/tags" Target="../tags/tag282.xml"/><Relationship Id="rId4" Type="http://schemas.openxmlformats.org/officeDocument/2006/relationships/tags" Target="../tags/tag255.xml"/><Relationship Id="rId9" Type="http://schemas.openxmlformats.org/officeDocument/2006/relationships/tags" Target="../tags/tag260.xml"/><Relationship Id="rId14" Type="http://schemas.openxmlformats.org/officeDocument/2006/relationships/tags" Target="../tags/tag265.xml"/><Relationship Id="rId22" Type="http://schemas.openxmlformats.org/officeDocument/2006/relationships/tags" Target="../tags/tag273.xml"/><Relationship Id="rId27" Type="http://schemas.openxmlformats.org/officeDocument/2006/relationships/tags" Target="../tags/tag278.xml"/><Relationship Id="rId30" Type="http://schemas.openxmlformats.org/officeDocument/2006/relationships/tags" Target="../tags/tag281.xml"/><Relationship Id="rId35" Type="http://schemas.openxmlformats.org/officeDocument/2006/relationships/tags" Target="../tags/tag286.xml"/><Relationship Id="rId8" Type="http://schemas.openxmlformats.org/officeDocument/2006/relationships/tags" Target="../tags/tag259.xml"/><Relationship Id="rId3" Type="http://schemas.openxmlformats.org/officeDocument/2006/relationships/tags" Target="../tags/tag254.xml"/></Relationships>
</file>

<file path=ppt/slides/_rels/slide8.xml.rels><?xml version="1.0" encoding="UTF-8" standalone="yes"?>
<Relationships xmlns="http://schemas.openxmlformats.org/package/2006/relationships"><Relationship Id="rId13" Type="http://schemas.openxmlformats.org/officeDocument/2006/relationships/tags" Target="../tags/tag299.xml"/><Relationship Id="rId18" Type="http://schemas.openxmlformats.org/officeDocument/2006/relationships/tags" Target="../tags/tag304.xml"/><Relationship Id="rId26" Type="http://schemas.openxmlformats.org/officeDocument/2006/relationships/tags" Target="../tags/tag312.xml"/><Relationship Id="rId39" Type="http://schemas.openxmlformats.org/officeDocument/2006/relationships/tags" Target="../tags/tag325.xml"/><Relationship Id="rId21" Type="http://schemas.openxmlformats.org/officeDocument/2006/relationships/tags" Target="../tags/tag307.xml"/><Relationship Id="rId34" Type="http://schemas.openxmlformats.org/officeDocument/2006/relationships/tags" Target="../tags/tag320.xml"/><Relationship Id="rId42" Type="http://schemas.openxmlformats.org/officeDocument/2006/relationships/tags" Target="../tags/tag328.xml"/><Relationship Id="rId47" Type="http://schemas.openxmlformats.org/officeDocument/2006/relationships/tags" Target="../tags/tag333.xml"/><Relationship Id="rId50" Type="http://schemas.openxmlformats.org/officeDocument/2006/relationships/tags" Target="../tags/tag336.xml"/><Relationship Id="rId55" Type="http://schemas.openxmlformats.org/officeDocument/2006/relationships/tags" Target="../tags/tag341.xml"/><Relationship Id="rId7" Type="http://schemas.openxmlformats.org/officeDocument/2006/relationships/tags" Target="../tags/tag293.xml"/><Relationship Id="rId2" Type="http://schemas.openxmlformats.org/officeDocument/2006/relationships/tags" Target="../tags/tag288.xml"/><Relationship Id="rId16" Type="http://schemas.openxmlformats.org/officeDocument/2006/relationships/tags" Target="../tags/tag302.xml"/><Relationship Id="rId29" Type="http://schemas.openxmlformats.org/officeDocument/2006/relationships/tags" Target="../tags/tag315.xml"/><Relationship Id="rId11" Type="http://schemas.openxmlformats.org/officeDocument/2006/relationships/tags" Target="../tags/tag297.xml"/><Relationship Id="rId24" Type="http://schemas.openxmlformats.org/officeDocument/2006/relationships/tags" Target="../tags/tag310.xml"/><Relationship Id="rId32" Type="http://schemas.openxmlformats.org/officeDocument/2006/relationships/tags" Target="../tags/tag318.xml"/><Relationship Id="rId37" Type="http://schemas.openxmlformats.org/officeDocument/2006/relationships/tags" Target="../tags/tag323.xml"/><Relationship Id="rId40" Type="http://schemas.openxmlformats.org/officeDocument/2006/relationships/tags" Target="../tags/tag326.xml"/><Relationship Id="rId45" Type="http://schemas.openxmlformats.org/officeDocument/2006/relationships/tags" Target="../tags/tag331.xml"/><Relationship Id="rId53" Type="http://schemas.openxmlformats.org/officeDocument/2006/relationships/tags" Target="../tags/tag339.xml"/><Relationship Id="rId58" Type="http://schemas.openxmlformats.org/officeDocument/2006/relationships/oleObject" Target="../embeddings/oleObject9.bin"/><Relationship Id="rId5" Type="http://schemas.openxmlformats.org/officeDocument/2006/relationships/tags" Target="../tags/tag291.xml"/><Relationship Id="rId19" Type="http://schemas.openxmlformats.org/officeDocument/2006/relationships/tags" Target="../tags/tag305.xml"/><Relationship Id="rId4" Type="http://schemas.openxmlformats.org/officeDocument/2006/relationships/tags" Target="../tags/tag290.xml"/><Relationship Id="rId9" Type="http://schemas.openxmlformats.org/officeDocument/2006/relationships/tags" Target="../tags/tag295.xml"/><Relationship Id="rId14" Type="http://schemas.openxmlformats.org/officeDocument/2006/relationships/tags" Target="../tags/tag300.xml"/><Relationship Id="rId22" Type="http://schemas.openxmlformats.org/officeDocument/2006/relationships/tags" Target="../tags/tag308.xml"/><Relationship Id="rId27" Type="http://schemas.openxmlformats.org/officeDocument/2006/relationships/tags" Target="../tags/tag313.xml"/><Relationship Id="rId30" Type="http://schemas.openxmlformats.org/officeDocument/2006/relationships/tags" Target="../tags/tag316.xml"/><Relationship Id="rId35" Type="http://schemas.openxmlformats.org/officeDocument/2006/relationships/tags" Target="../tags/tag321.xml"/><Relationship Id="rId43" Type="http://schemas.openxmlformats.org/officeDocument/2006/relationships/tags" Target="../tags/tag329.xml"/><Relationship Id="rId48" Type="http://schemas.openxmlformats.org/officeDocument/2006/relationships/tags" Target="../tags/tag334.xml"/><Relationship Id="rId56" Type="http://schemas.openxmlformats.org/officeDocument/2006/relationships/slideLayout" Target="../slideLayouts/slideLayout2.xml"/><Relationship Id="rId8" Type="http://schemas.openxmlformats.org/officeDocument/2006/relationships/tags" Target="../tags/tag294.xml"/><Relationship Id="rId51" Type="http://schemas.openxmlformats.org/officeDocument/2006/relationships/tags" Target="../tags/tag337.xml"/><Relationship Id="rId3" Type="http://schemas.openxmlformats.org/officeDocument/2006/relationships/tags" Target="../tags/tag289.xml"/><Relationship Id="rId12" Type="http://schemas.openxmlformats.org/officeDocument/2006/relationships/tags" Target="../tags/tag298.xml"/><Relationship Id="rId17" Type="http://schemas.openxmlformats.org/officeDocument/2006/relationships/tags" Target="../tags/tag303.xml"/><Relationship Id="rId25" Type="http://schemas.openxmlformats.org/officeDocument/2006/relationships/tags" Target="../tags/tag311.xml"/><Relationship Id="rId33" Type="http://schemas.openxmlformats.org/officeDocument/2006/relationships/tags" Target="../tags/tag319.xml"/><Relationship Id="rId38" Type="http://schemas.openxmlformats.org/officeDocument/2006/relationships/tags" Target="../tags/tag324.xml"/><Relationship Id="rId46" Type="http://schemas.openxmlformats.org/officeDocument/2006/relationships/tags" Target="../tags/tag332.xml"/><Relationship Id="rId59" Type="http://schemas.openxmlformats.org/officeDocument/2006/relationships/image" Target="../media/image1.emf"/><Relationship Id="rId20" Type="http://schemas.openxmlformats.org/officeDocument/2006/relationships/tags" Target="../tags/tag306.xml"/><Relationship Id="rId41" Type="http://schemas.openxmlformats.org/officeDocument/2006/relationships/tags" Target="../tags/tag327.xml"/><Relationship Id="rId54" Type="http://schemas.openxmlformats.org/officeDocument/2006/relationships/tags" Target="../tags/tag340.xml"/><Relationship Id="rId1" Type="http://schemas.openxmlformats.org/officeDocument/2006/relationships/tags" Target="../tags/tag287.xml"/><Relationship Id="rId6" Type="http://schemas.openxmlformats.org/officeDocument/2006/relationships/tags" Target="../tags/tag292.xml"/><Relationship Id="rId15" Type="http://schemas.openxmlformats.org/officeDocument/2006/relationships/tags" Target="../tags/tag301.xml"/><Relationship Id="rId23" Type="http://schemas.openxmlformats.org/officeDocument/2006/relationships/tags" Target="../tags/tag309.xml"/><Relationship Id="rId28" Type="http://schemas.openxmlformats.org/officeDocument/2006/relationships/tags" Target="../tags/tag314.xml"/><Relationship Id="rId36" Type="http://schemas.openxmlformats.org/officeDocument/2006/relationships/tags" Target="../tags/tag322.xml"/><Relationship Id="rId49" Type="http://schemas.openxmlformats.org/officeDocument/2006/relationships/tags" Target="../tags/tag335.xml"/><Relationship Id="rId57" Type="http://schemas.openxmlformats.org/officeDocument/2006/relationships/notesSlide" Target="../notesSlides/notesSlide6.xml"/><Relationship Id="rId10" Type="http://schemas.openxmlformats.org/officeDocument/2006/relationships/tags" Target="../tags/tag296.xml"/><Relationship Id="rId31" Type="http://schemas.openxmlformats.org/officeDocument/2006/relationships/tags" Target="../tags/tag317.xml"/><Relationship Id="rId44" Type="http://schemas.openxmlformats.org/officeDocument/2006/relationships/tags" Target="../tags/tag330.xml"/><Relationship Id="rId52" Type="http://schemas.openxmlformats.org/officeDocument/2006/relationships/tags" Target="../tags/tag338.xml"/><Relationship Id="rId60" Type="http://schemas.openxmlformats.org/officeDocument/2006/relationships/chart" Target="../charts/chart6.xml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367.xml"/><Relationship Id="rId21" Type="http://schemas.openxmlformats.org/officeDocument/2006/relationships/tags" Target="../tags/tag362.xml"/><Relationship Id="rId34" Type="http://schemas.openxmlformats.org/officeDocument/2006/relationships/tags" Target="../tags/tag375.xml"/><Relationship Id="rId42" Type="http://schemas.openxmlformats.org/officeDocument/2006/relationships/tags" Target="../tags/tag383.xml"/><Relationship Id="rId47" Type="http://schemas.openxmlformats.org/officeDocument/2006/relationships/tags" Target="../tags/tag388.xml"/><Relationship Id="rId50" Type="http://schemas.openxmlformats.org/officeDocument/2006/relationships/tags" Target="../tags/tag391.xml"/><Relationship Id="rId55" Type="http://schemas.openxmlformats.org/officeDocument/2006/relationships/tags" Target="../tags/tag396.xml"/><Relationship Id="rId63" Type="http://schemas.openxmlformats.org/officeDocument/2006/relationships/notesSlide" Target="../notesSlides/notesSlide7.xml"/><Relationship Id="rId7" Type="http://schemas.openxmlformats.org/officeDocument/2006/relationships/tags" Target="../tags/tag348.xml"/><Relationship Id="rId2" Type="http://schemas.openxmlformats.org/officeDocument/2006/relationships/tags" Target="../tags/tag343.xml"/><Relationship Id="rId16" Type="http://schemas.openxmlformats.org/officeDocument/2006/relationships/tags" Target="../tags/tag357.xml"/><Relationship Id="rId29" Type="http://schemas.openxmlformats.org/officeDocument/2006/relationships/tags" Target="../tags/tag370.xml"/><Relationship Id="rId11" Type="http://schemas.openxmlformats.org/officeDocument/2006/relationships/tags" Target="../tags/tag352.xml"/><Relationship Id="rId24" Type="http://schemas.openxmlformats.org/officeDocument/2006/relationships/tags" Target="../tags/tag365.xml"/><Relationship Id="rId32" Type="http://schemas.openxmlformats.org/officeDocument/2006/relationships/tags" Target="../tags/tag373.xml"/><Relationship Id="rId37" Type="http://schemas.openxmlformats.org/officeDocument/2006/relationships/tags" Target="../tags/tag378.xml"/><Relationship Id="rId40" Type="http://schemas.openxmlformats.org/officeDocument/2006/relationships/tags" Target="../tags/tag381.xml"/><Relationship Id="rId45" Type="http://schemas.openxmlformats.org/officeDocument/2006/relationships/tags" Target="../tags/tag386.xml"/><Relationship Id="rId53" Type="http://schemas.openxmlformats.org/officeDocument/2006/relationships/tags" Target="../tags/tag394.xml"/><Relationship Id="rId58" Type="http://schemas.openxmlformats.org/officeDocument/2006/relationships/tags" Target="../tags/tag399.xml"/><Relationship Id="rId66" Type="http://schemas.openxmlformats.org/officeDocument/2006/relationships/chart" Target="../charts/chart7.xml"/><Relationship Id="rId5" Type="http://schemas.openxmlformats.org/officeDocument/2006/relationships/tags" Target="../tags/tag346.xml"/><Relationship Id="rId61" Type="http://schemas.openxmlformats.org/officeDocument/2006/relationships/tags" Target="../tags/tag402.xml"/><Relationship Id="rId19" Type="http://schemas.openxmlformats.org/officeDocument/2006/relationships/tags" Target="../tags/tag360.xml"/><Relationship Id="rId14" Type="http://schemas.openxmlformats.org/officeDocument/2006/relationships/tags" Target="../tags/tag355.xml"/><Relationship Id="rId22" Type="http://schemas.openxmlformats.org/officeDocument/2006/relationships/tags" Target="../tags/tag363.xml"/><Relationship Id="rId27" Type="http://schemas.openxmlformats.org/officeDocument/2006/relationships/tags" Target="../tags/tag368.xml"/><Relationship Id="rId30" Type="http://schemas.openxmlformats.org/officeDocument/2006/relationships/tags" Target="../tags/tag371.xml"/><Relationship Id="rId35" Type="http://schemas.openxmlformats.org/officeDocument/2006/relationships/tags" Target="../tags/tag376.xml"/><Relationship Id="rId43" Type="http://schemas.openxmlformats.org/officeDocument/2006/relationships/tags" Target="../tags/tag384.xml"/><Relationship Id="rId48" Type="http://schemas.openxmlformats.org/officeDocument/2006/relationships/tags" Target="../tags/tag389.xml"/><Relationship Id="rId56" Type="http://schemas.openxmlformats.org/officeDocument/2006/relationships/tags" Target="../tags/tag397.xml"/><Relationship Id="rId64" Type="http://schemas.openxmlformats.org/officeDocument/2006/relationships/oleObject" Target="../embeddings/oleObject10.bin"/><Relationship Id="rId8" Type="http://schemas.openxmlformats.org/officeDocument/2006/relationships/tags" Target="../tags/tag349.xml"/><Relationship Id="rId51" Type="http://schemas.openxmlformats.org/officeDocument/2006/relationships/tags" Target="../tags/tag392.xml"/><Relationship Id="rId3" Type="http://schemas.openxmlformats.org/officeDocument/2006/relationships/tags" Target="../tags/tag344.xml"/><Relationship Id="rId12" Type="http://schemas.openxmlformats.org/officeDocument/2006/relationships/tags" Target="../tags/tag353.xml"/><Relationship Id="rId17" Type="http://schemas.openxmlformats.org/officeDocument/2006/relationships/tags" Target="../tags/tag358.xml"/><Relationship Id="rId25" Type="http://schemas.openxmlformats.org/officeDocument/2006/relationships/tags" Target="../tags/tag366.xml"/><Relationship Id="rId33" Type="http://schemas.openxmlformats.org/officeDocument/2006/relationships/tags" Target="../tags/tag374.xml"/><Relationship Id="rId38" Type="http://schemas.openxmlformats.org/officeDocument/2006/relationships/tags" Target="../tags/tag379.xml"/><Relationship Id="rId46" Type="http://schemas.openxmlformats.org/officeDocument/2006/relationships/tags" Target="../tags/tag387.xml"/><Relationship Id="rId59" Type="http://schemas.openxmlformats.org/officeDocument/2006/relationships/tags" Target="../tags/tag400.xml"/><Relationship Id="rId20" Type="http://schemas.openxmlformats.org/officeDocument/2006/relationships/tags" Target="../tags/tag361.xml"/><Relationship Id="rId41" Type="http://schemas.openxmlformats.org/officeDocument/2006/relationships/tags" Target="../tags/tag382.xml"/><Relationship Id="rId54" Type="http://schemas.openxmlformats.org/officeDocument/2006/relationships/tags" Target="../tags/tag395.xml"/><Relationship Id="rId62" Type="http://schemas.openxmlformats.org/officeDocument/2006/relationships/slideLayout" Target="../slideLayouts/slideLayout2.xml"/><Relationship Id="rId1" Type="http://schemas.openxmlformats.org/officeDocument/2006/relationships/tags" Target="../tags/tag342.xml"/><Relationship Id="rId6" Type="http://schemas.openxmlformats.org/officeDocument/2006/relationships/tags" Target="../tags/tag347.xml"/><Relationship Id="rId15" Type="http://schemas.openxmlformats.org/officeDocument/2006/relationships/tags" Target="../tags/tag356.xml"/><Relationship Id="rId23" Type="http://schemas.openxmlformats.org/officeDocument/2006/relationships/tags" Target="../tags/tag364.xml"/><Relationship Id="rId28" Type="http://schemas.openxmlformats.org/officeDocument/2006/relationships/tags" Target="../tags/tag369.xml"/><Relationship Id="rId36" Type="http://schemas.openxmlformats.org/officeDocument/2006/relationships/tags" Target="../tags/tag377.xml"/><Relationship Id="rId49" Type="http://schemas.openxmlformats.org/officeDocument/2006/relationships/tags" Target="../tags/tag390.xml"/><Relationship Id="rId57" Type="http://schemas.openxmlformats.org/officeDocument/2006/relationships/tags" Target="../tags/tag398.xml"/><Relationship Id="rId10" Type="http://schemas.openxmlformats.org/officeDocument/2006/relationships/tags" Target="../tags/tag351.xml"/><Relationship Id="rId31" Type="http://schemas.openxmlformats.org/officeDocument/2006/relationships/tags" Target="../tags/tag372.xml"/><Relationship Id="rId44" Type="http://schemas.openxmlformats.org/officeDocument/2006/relationships/tags" Target="../tags/tag385.xml"/><Relationship Id="rId52" Type="http://schemas.openxmlformats.org/officeDocument/2006/relationships/tags" Target="../tags/tag393.xml"/><Relationship Id="rId60" Type="http://schemas.openxmlformats.org/officeDocument/2006/relationships/tags" Target="../tags/tag401.xml"/><Relationship Id="rId65" Type="http://schemas.openxmlformats.org/officeDocument/2006/relationships/image" Target="../media/image1.emf"/><Relationship Id="rId4" Type="http://schemas.openxmlformats.org/officeDocument/2006/relationships/tags" Target="../tags/tag345.xml"/><Relationship Id="rId9" Type="http://schemas.openxmlformats.org/officeDocument/2006/relationships/tags" Target="../tags/tag350.xml"/><Relationship Id="rId13" Type="http://schemas.openxmlformats.org/officeDocument/2006/relationships/tags" Target="../tags/tag354.xml"/><Relationship Id="rId18" Type="http://schemas.openxmlformats.org/officeDocument/2006/relationships/tags" Target="../tags/tag359.xml"/><Relationship Id="rId39" Type="http://schemas.openxmlformats.org/officeDocument/2006/relationships/tags" Target="../tags/tag38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DD86C618-172E-9B79-5850-6D8C6C2774D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0857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606" imgH="608" progId="TCLayout.ActiveDocument.1">
                  <p:embed/>
                </p:oleObj>
              </mc:Choice>
              <mc:Fallback>
                <p:oleObj name="think-cell Slide" r:id="rId4" imgW="606" imgH="608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D86C618-172E-9B79-5850-6D8C6C2774D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btfpColumnIndicatorGroup2">
            <a:extLst>
              <a:ext uri="{FF2B5EF4-FFF2-40B4-BE49-F238E27FC236}">
                <a16:creationId xmlns:a16="http://schemas.microsoft.com/office/drawing/2014/main" id="{2CF7676C-0E83-1A76-9697-8558F19E296A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2" name="btfpColumnGapBlocker435995">
              <a:extLst>
                <a:ext uri="{FF2B5EF4-FFF2-40B4-BE49-F238E27FC236}">
                  <a16:creationId xmlns:a16="http://schemas.microsoft.com/office/drawing/2014/main" id="{286F1079-A82A-5246-5E79-C146DA41DEA2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0" name="btfpColumnGapBlocker103224">
              <a:extLst>
                <a:ext uri="{FF2B5EF4-FFF2-40B4-BE49-F238E27FC236}">
                  <a16:creationId xmlns:a16="http://schemas.microsoft.com/office/drawing/2014/main" id="{F65EE7B2-9BB7-7976-3138-50918433EC33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" name="btfpColumnIndicator943334">
              <a:extLst>
                <a:ext uri="{FF2B5EF4-FFF2-40B4-BE49-F238E27FC236}">
                  <a16:creationId xmlns:a16="http://schemas.microsoft.com/office/drawing/2014/main" id="{3F79E33A-5413-1343-1E71-EB96EA0465E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btfpColumnIndicator102143">
              <a:extLst>
                <a:ext uri="{FF2B5EF4-FFF2-40B4-BE49-F238E27FC236}">
                  <a16:creationId xmlns:a16="http://schemas.microsoft.com/office/drawing/2014/main" id="{A7FFBD74-CCFB-CCF2-721D-6F0129544AA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btfpColumnIndicatorGroup1">
            <a:extLst>
              <a:ext uri="{FF2B5EF4-FFF2-40B4-BE49-F238E27FC236}">
                <a16:creationId xmlns:a16="http://schemas.microsoft.com/office/drawing/2014/main" id="{1EF8380E-DF08-0B42-212F-A167AC25D424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1" name="btfpColumnGapBlocker338098">
              <a:extLst>
                <a:ext uri="{FF2B5EF4-FFF2-40B4-BE49-F238E27FC236}">
                  <a16:creationId xmlns:a16="http://schemas.microsoft.com/office/drawing/2014/main" id="{3AD26B56-42AF-7720-00ED-2E0A34615AC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9" name="btfpColumnGapBlocker494389">
              <a:extLst>
                <a:ext uri="{FF2B5EF4-FFF2-40B4-BE49-F238E27FC236}">
                  <a16:creationId xmlns:a16="http://schemas.microsoft.com/office/drawing/2014/main" id="{B5D50A9B-73AA-37BE-56A7-DAA0135E6595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7" name="btfpColumnIndicator316842">
              <a:extLst>
                <a:ext uri="{FF2B5EF4-FFF2-40B4-BE49-F238E27FC236}">
                  <a16:creationId xmlns:a16="http://schemas.microsoft.com/office/drawing/2014/main" id="{964CEDA6-E686-894D-A07F-FD20D375FDF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" name="btfpColumnIndicator200711">
              <a:extLst>
                <a:ext uri="{FF2B5EF4-FFF2-40B4-BE49-F238E27FC236}">
                  <a16:creationId xmlns:a16="http://schemas.microsoft.com/office/drawing/2014/main" id="{B2768D70-BFE2-FCF6-3A64-1D9E8B170F8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>
            <a:extLst>
              <a:ext uri="{FF2B5EF4-FFF2-40B4-BE49-F238E27FC236}">
                <a16:creationId xmlns:a16="http://schemas.microsoft.com/office/drawing/2014/main" id="{D1E477E5-1BFD-BC89-8985-5CDE5D3296C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GB" dirty="0"/>
              <a:t>2024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A8B1FE-BA8F-8E9C-9B3D-05E75A4DE1B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en-GB" dirty="0"/>
              <a:t>PMDR Data Visualization Template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36929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649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0" imgW="484" imgH="486" progId="TCLayout.ActiveDocument.1">
                  <p:embed/>
                </p:oleObj>
              </mc:Choice>
              <mc:Fallback>
                <p:oleObj name="think-cell Slide" r:id="rId9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financed emissions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39B94FB2-4191-44CA-1554-95D14FC30586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70772239"/>
              </p:ext>
            </p:extLst>
          </p:nvPr>
        </p:nvGraphicFramePr>
        <p:xfrm>
          <a:off x="1244600" y="1519238"/>
          <a:ext cx="10694988" cy="335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41413" y="45196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1016DE5-2AB7-4EA8-9E9F-D9032E1AF730}" type="datetime'''''''''''''''0''''''''''''''''''''''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F10D997B-5840-0169-104D-30634ED9840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46138" y="35782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BDDD453-27A7-427A-9C32-A3319F1A0A40}" type="datetime'5'''''',0''''0''''''''''''''''0'''''''''''''''''''''''''''''''">
              <a:rPr lang="en-GB" altLang="en-US" sz="1200" smtClean="0">
                <a:solidFill>
                  <a:srgbClr val="000000"/>
                </a:solidFill>
              </a:rPr>
              <a:pPr/>
              <a:t>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4" name="Text Placeholder">
            <a:extLst>
              <a:ext uri="{FF2B5EF4-FFF2-40B4-BE49-F238E27FC236}">
                <a16:creationId xmlns:a16="http://schemas.microsoft.com/office/drawing/2014/main" id="{3299E25F-525B-2207-C28A-6973DED1F61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62000" y="263683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00EFD69-E558-44C8-A070-4B1298AD99C9}" type="datetime'1''0,''0''''''''''''''''''''''0''''''''''''0''''''''''''''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09DED4D5-6104-C4AF-FC61-CCA12D064A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62000" y="1695450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4C81373-9C00-40E8-AF7F-813CFA05E13A}" type="datetime'1''''''''''''''5'''''''''''',''''''''''00''''''0'''''''''''">
              <a:rPr lang="en-GB" altLang="en-US" sz="1200" smtClean="0">
                <a:solidFill>
                  <a:srgbClr val="000000"/>
                </a:solidFill>
              </a:rPr>
              <a:pPr/>
              <a:t>1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9942513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3BD6246-A482-DD37-975B-49DFC8D1213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2420938" y="4492624"/>
            <a:ext cx="95250" cy="508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2D52B89-08EE-43DB-EC80-0102551BCDB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3925888" y="4492625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E7DF773-161C-7581-9639-FF39F5E94CE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9942513" y="4402138"/>
            <a:ext cx="95250" cy="168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45BED40-5199-0168-CAC9-0BF7F987134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9942513" y="4219575"/>
            <a:ext cx="95250" cy="2698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11445875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18385B2-2F32-113B-F939-AC99127D613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>
            <a:off x="11445875" y="4402137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3FCCC70-C2A8-0244-3FA5-D134451B5E0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11445875" y="4219574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42D6B96-5021-9150-9DE8-FD07E0FB5A1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11445875" y="4037013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FAB05A2-D21E-B09B-DABD-9F81D378F2F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3925888" y="4402138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544555F-1D4D-627D-466C-885F088A6DD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3925888" y="4219575"/>
            <a:ext cx="95250" cy="231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E9535BA-03DA-C0C8-2660-3F290767B07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3925888" y="4037013"/>
            <a:ext cx="95250" cy="355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1F13ECF-C82B-A8CE-9F34-F27AF2081FE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3925888" y="3854449"/>
            <a:ext cx="95250" cy="457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374E463-A034-76E2-136F-C220AADD936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3925888" y="3671888"/>
            <a:ext cx="95250" cy="530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5429250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429250" y="4402138"/>
            <a:ext cx="95250" cy="173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5429250" y="4219574"/>
            <a:ext cx="95250" cy="330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383BD7E-6F0D-BD8E-4E39-7303AEA5E77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5429250" y="4037013"/>
            <a:ext cx="95250" cy="455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855F7C5-08BC-1E1D-3453-6F8C501F6E1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6934200" y="4492625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92ABB884-FA29-198A-CD51-0C20AB4AA1A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6934200" y="4402137"/>
            <a:ext cx="95250" cy="1524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407E248-C473-7F36-EE1D-4E70C8D2B7D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6934200" y="4219574"/>
            <a:ext cx="95250" cy="2936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1DA4C49F-F51B-A291-CEA7-D90C35826D1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6934200" y="4037013"/>
            <a:ext cx="95250" cy="441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783E15E-29FF-7AFF-B12E-7A5B60EA4DD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6934200" y="3854450"/>
            <a:ext cx="95250" cy="5730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D6FB47A-C626-C123-70C9-2567A982217C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6934200" y="3671888"/>
            <a:ext cx="95250" cy="695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1E42535-AE8A-2023-8603-D156BE43A10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437563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5CE7B2FD-6CD4-8D5B-3A18-D07F0E5A9CA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437563" y="4402138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897B5872-C962-8C92-39F9-D353509FA6F6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8437563" y="4219575"/>
            <a:ext cx="95250" cy="2460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D7F13E49-DD2A-BBDF-E605-CDD8F81E0F9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8437563" y="4037013"/>
            <a:ext cx="95250" cy="3762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B9DC358-00C7-C8AF-1829-1DE4D4C5780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8437563" y="3854449"/>
            <a:ext cx="95250" cy="515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62000" y="1390650"/>
            <a:ext cx="4433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financed emissions, 2023 (tCO2e)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B46A579F-ECD1-78C8-9368-DBB86D08914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866900" y="40481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B22F9F-479C-4918-9B30-C468FF2058CC}" type="datetime'''''''1'''''''''',''''''''''''200'''''''''''''''''''''''">
              <a:rPr lang="en-GB" altLang="en-US" sz="1200" smtClean="0">
                <a:solidFill>
                  <a:srgbClr val="000000"/>
                </a:solidFill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866900" y="3794125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05B962-93B1-42E2-9141-43328C0DA1E0}" type="datetime'''''''''''''1'''''''',''''''5''''''''''''''''''''''''0''''0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AFF5F2-705F-3A28-A8FD-0C75DBCDBF0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866900" y="33893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E07411-01F5-449D-B33A-8D1205891690}" type="datetime'''''''''''2'''''''''''''''''''',''8''0''''0'''''''''''''''">
              <a:rPr lang="en-GB" altLang="en-US" sz="1200" smtClean="0">
                <a:solidFill>
                  <a:srgbClr val="000000"/>
                </a:solidFill>
              </a:rPr>
              <a:pPr/>
              <a:t>2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8EF6AFB-7BE3-F1AE-0567-BD2E07055CB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866900" y="27400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B017026-5F12-42DE-93FE-83DE4FF944D6}" type="datetime'''''''''''''4,''''''''''''''1''''''0''''''''0'''''''''''">
              <a:rPr lang="en-GB" altLang="en-US" sz="1200" smtClean="0">
                <a:solidFill>
                  <a:srgbClr val="FFFFFF"/>
                </a:solidFill>
              </a:rPr>
              <a:pPr/>
              <a:t>4,1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0C3AFCDD-98F8-DC01-DDB4-946C3665237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866900" y="20431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41CC93-C05B-4E3F-B75E-ADF3B83B6173}" type="datetime'''3,''''''''''''''''''3''''''''''0''''''0'''">
              <a:rPr lang="en-GB" altLang="en-US" sz="1200" smtClean="0">
                <a:solidFill>
                  <a:srgbClr val="FFFFFF"/>
                </a:solidFill>
              </a:rPr>
              <a:pPr/>
              <a:t>3,3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866900" y="4273550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C1F684-16EB-48FE-8680-3012E717DB17}" type="datetime'''''''''''''''''''''''''1'''',''2''0''''''0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B593A711-6897-DCF7-2890-C003865CF9D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388475" y="41957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BB6BE8-61F3-4650-8C5F-3B1191804066}" type="datetime'''''''''1'',''''''''''''''''60''''''''0'">
              <a:rPr lang="en-GB" altLang="en-US" sz="1200" smtClean="0">
                <a:solidFill>
                  <a:srgbClr val="FFFFFF"/>
                </a:solidFill>
              </a:rPr>
              <a:pPr/>
              <a:t>1,6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2AEA264-45DD-6ADD-E6AD-1469C2F2F10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875213" y="41052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A2EF29-425A-4CB5-9F02-93945244851B}" type="datetime'''1'''',''''''''''''''''''''''''''3''''''''2''''''''''''0'''''">
              <a:rPr lang="en-GB" altLang="en-US" sz="1200" smtClean="0">
                <a:solidFill>
                  <a:srgbClr val="FFFFFF"/>
                </a:solidFill>
              </a:rPr>
              <a:pPr/>
              <a:t>1,32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824038" y="161607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56C7FB5-BEA2-4184-BC74-C2462BA0580F}" type="datetime'''1''''''4'''',''''''''''8''''''''''''0''''0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4CEC8C77-9EC5-6474-FCEB-4AB81B451E3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9388475" y="39179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D77E5B8-16F4-4A70-A6A1-1BB4F0474FAA}" type="datetime'''''''''1'''',''35''''''''''''''0'''''''''''''''''">
              <a:rPr lang="en-GB" altLang="en-US" sz="1200" smtClean="0">
                <a:solidFill>
                  <a:srgbClr val="FFFFFF"/>
                </a:solidFill>
              </a:rPr>
              <a:pPr/>
              <a:t>1,35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875213" y="38639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453B54-9645-4C3C-A62F-C75F4CE1FFD6}" type="datetime'''''''''''''''''''''''''2'',85''''5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380163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BE68D8A-5E54-48DB-ABEE-9DBBCE631582}" type="datetime'''''''1'',4''''''''''''''''''''''''''2''''''''''0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883525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B20F14A-3DC3-49F8-B6E2-FEDC7617A244}" type="datetime'''''''''''''''''''''''''''''''''''''''''1'''',42''''''''''''5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9388475" y="36734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BAC3AE-2679-46B4-B6AC-168DD63AFFD7}" type="datetime'''''''''''''''''3,''''8''''''7''''''''''''''''''''''''''''''0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0891838" y="38957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15E7EE5-5A99-4835-B34B-13F8DC4519FE}" type="datetime'''''''''''''''2,''68''''''''''''''''''''''''''8''''''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371850" y="39370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F482338-49DF-45F1-88D4-A38BA4C03360}" type="datetime'''''''''''''''''2'''''''',''4''6''''''''''5''''''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327151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9CEAED-D243-45D1-AEDC-2BA3606C7478}" type="datetime'''''''''''''''''''''''''To''''''''''ta''''''''''l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4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763BF2-F2FA-4016-BD6B-BD8D5D7E6629}" type="datetime'''F''''''un''''d'''''''''''''' II'''''''''''''''''''''''">
              <a:rPr lang="en-GB" altLang="en-US" sz="1200" smtClean="0">
                <a:solidFill>
                  <a:srgbClr val="000000"/>
                </a:solidFill>
              </a:rPr>
              <a:pPr/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4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DCAD77-E798-44B0-8517-64D7B790204E}" type="datetime'''''''Fun''''''''d ''''''''''''''I''''I''''''''I'">
              <a:rPr lang="en-GB" altLang="en-US" sz="1200" smtClean="0">
                <a:solidFill>
                  <a:srgbClr val="000000"/>
                </a:solidFill>
              </a:rPr>
              <a:pPr/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830512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E462B7-4EBB-4D89-AA0C-FA952956D815}" type="datetime'''''''''F''''''u''''''''''''''''''''n''''d'' I'''''''''''''">
              <a:rPr lang="en-GB" altLang="en-US" sz="1200" smtClean="0">
                <a:solidFill>
                  <a:srgbClr val="000000"/>
                </a:solidFill>
              </a:rPr>
              <a:pPr/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343776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461E45B-A332-4308-A4D4-49F066A95491}" type="datetime'''''''''F''u''''n''''''''d'''' ''''I''''''''''V'''''''''''">
              <a:rPr lang="en-GB" altLang="en-US" sz="1200" smtClean="0">
                <a:solidFill>
                  <a:srgbClr val="000000"/>
                </a:solidFill>
              </a:rPr>
              <a:pPr/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330201" y="4975225"/>
            <a:ext cx="250031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EE8F0AB-B951-4940-83DF-56247D7DA6F6}" type="datetime'''A''l''''ign''''men''''''t ''''le''v''e''''''''''''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847137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B71F93-B44F-4454-B06E-03F9AAA557C6}" type="datetime'''''Fu''''''''n''''d'''''''''''' ''''''''''''''''''''''V'''''">
              <a:rPr lang="en-GB" altLang="en-US" sz="1200" smtClean="0">
                <a:solidFill>
                  <a:srgbClr val="000000"/>
                </a:solidFill>
              </a:rPr>
              <a:pPr/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52088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ADA014-A187-4ED0-9F86-30C71695FC54}" type="datetime'''F''''''''''''''''''''''''''''''''u''''nd'''''' V''''''''''I'">
              <a:rPr lang="en-GB" altLang="en-US" sz="1200" smtClean="0">
                <a:solidFill>
                  <a:srgbClr val="000000"/>
                </a:solidFill>
              </a:rPr>
              <a:pPr/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327151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D00C4C0-EFCA-4644-9ED7-ADB17DB94EA1}" type="datetime'''''''''5''''''''0'''''' ''''''''''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830512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682F91-2226-4651-96FE-FA3CCCD07006}" type="datetime'''''''''''''''''''''24''''''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4335464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41308C-FAEC-4C31-ABFF-D2F4031732A8}" type="datetime'''''''''''''''''7''''''5'''''''''''''' 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838824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90AF7F-83FF-472E-8D07-5DD6BF4A2D65}" type="datetime'''''''''''''1''''''''''''9'''''''''''' 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343776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BE9D71-D2E7-415D-8D0B-43D4F9D23B1D}" type="datetime'''''0'''''''''''''''''''''' 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847137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080316-E38E-4F6B-84E2-A7DBF00A79B4}" type="datetime'7''6'''' 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52088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51D46C-D2E5-497C-9483-DD2ADB7EA5C1}" type="datetime'''''''''5''''''''''''''''''''5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167" name="btfpRunningAgenda1Level573689">
            <a:extLst>
              <a:ext uri="{FF2B5EF4-FFF2-40B4-BE49-F238E27FC236}">
                <a16:creationId xmlns:a16="http://schemas.microsoft.com/office/drawing/2014/main" id="{80DB2F75-506E-867B-1D0F-6E435879BDD0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168" name="btfpRunningAgenda1LevelBarLeft573689">
              <a:extLst>
                <a:ext uri="{FF2B5EF4-FFF2-40B4-BE49-F238E27FC236}">
                  <a16:creationId xmlns:a16="http://schemas.microsoft.com/office/drawing/2014/main" id="{3D9A264A-A0AD-416A-148B-6CF89CCAC30B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69" name="btfpRunningAgenda1LevelTextLeft573689">
              <a:extLst>
                <a:ext uri="{FF2B5EF4-FFF2-40B4-BE49-F238E27FC236}">
                  <a16:creationId xmlns:a16="http://schemas.microsoft.com/office/drawing/2014/main" id="{3ED0049B-5780-792A-712C-B32CBB11C892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70" name="btfpBulletedList443564">
            <a:extLst>
              <a:ext uri="{FF2B5EF4-FFF2-40B4-BE49-F238E27FC236}">
                <a16:creationId xmlns:a16="http://schemas.microsoft.com/office/drawing/2014/main" id="{2AF44677-C672-47EF-BD21-EEBB58D79537}"/>
              </a:ext>
            </a:extLst>
          </p:cNvPr>
          <p:cNvSpPr/>
          <p:nvPr/>
        </p:nvSpPr>
        <p:spPr bwMode="gray">
          <a:xfrm>
            <a:off x="8954100" y="0"/>
            <a:ext cx="3237900" cy="15597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171" name="Oval 170">
            <a:extLst>
              <a:ext uri="{FF2B5EF4-FFF2-40B4-BE49-F238E27FC236}">
                <a16:creationId xmlns:a16="http://schemas.microsoft.com/office/drawing/2014/main" id="{1241B5CA-43C4-1751-4106-3F84427CB7E6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D57F9901-F8DD-02FC-5177-224355B31EDB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30200" y="5341938"/>
            <a:ext cx="250031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5787065-6741-4BB0-A73C-6D2557033730}" type="datetime'''''# ''o''''''''f P''o''''''r''tC''o''''s''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5888EA2E-8483-59B4-09E3-F03B4979FD7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4EB856C-85B7-47EC-98C0-E087B2CEF00C}" type="datetime'''''Inves''te''d ''''capita''''l'''' ''''''''''''(''''$b''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F286EDFF-2AAD-8C90-01E9-459F4E34BF0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327150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D106EC-22B6-4EC0-AACD-5654F870D37E}" type="datetime'''''''''''''''1''''''''''''''''''''''0''''0''''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5F43AB53-88DC-C1F2-C663-0675EC6DDACC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2830513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D51A17E-D9D4-444F-8E87-EC2C32CE9673}" type="datetime'''''''''''''''''''''''''''''2''''''''6''''''''''''''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4C5E7CB8-6909-57A8-9A24-B85CB99C037B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335463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61973B5-6E06-4CE3-9B06-1AB7176DB29E}" type="datetime'14''''''''''''''''''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CB7AA60D-F754-D7C3-90BD-0BB5DF100D6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838825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6BA86BC-CDC7-4FD7-96EB-0A7D8A250A65}" type="datetime'''''''''''''''''1''''6''''''''''''''''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03C85492-70C3-F2C8-6127-712639BAAD73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343775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E0670CE-4DBF-48D6-9F26-17531FCA574E}" type="datetime'''''''''''''''''''''''1''''''''''''''8''''''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A2C22B41-B87F-BCFE-424C-C12D8065E171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84713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32CC1AE-16F5-448C-8C6C-DFCE29F34F73}" type="datetime'''''''''''''''''''''''''''''''''''1''''''''''''''4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8CD8352-97FE-178B-784E-F8B24E6552C5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1035208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BBA630-65C4-46D5-9880-BB93438F23C6}" type="datetime'''''''''''1''''''''''''''''''2''''''''''''''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FB227965-B389-9CBF-ED57-36E56FF3EFB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1FA494-B7EF-45AA-A817-3CADAD7C0520}" type="datetime'''9''''''''''''''''''''.''0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E8FAB797-AC33-176C-4E12-AF141E40AE1F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1B14DF-F3CA-48FC-9573-B05805CFA61F}" type="datetime'''''''''1''''''''''''.''''''''''''''''''''0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8D1CD0B4-00B4-197C-CEEB-B6374FA4E77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58490D-17D6-457B-A0C3-162B91339614}" type="datetime'''''''''''''''''''''2''''''.''''''''''''0''''''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E6E27C1B-46A9-DACA-8602-6ACC6FCD4958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37E73EC-3A4D-4877-9E5F-249634CAB701}" type="datetime'''''''''''''''1''''''''''''''''''''''''''''''''.''''''''0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0E689FF3-4A6A-0ACE-D479-5511091F0996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86255F-2167-453B-A0E8-5B6499250866}" type="datetime'''''''''''''''''''''''''1''''''.''''0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82321AA3-22C5-D24A-7BC2-49C96C333ECB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31EC87-CA4B-49F1-BD26-9032B2536F0E}" type="datetime'''''''''''''3''''''.''''''''''''''''''0''''''''''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4473381A-57C0-ABCA-D8E6-3E49EE7738C3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8432F9-3B94-45A3-A135-C4D92495F7E2}" type="datetime'''''''2''''''''''.''''''''''''''''''0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8A999AC0-1712-D477-C5ED-4A87D7D54D90}"/>
              </a:ext>
            </a:extLst>
          </p:cNvPr>
          <p:cNvSpPr txBox="1"/>
          <p:nvPr>
            <p:custDataLst>
              <p:tags r:id="rId8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9805274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082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484" imgH="486" progId="TCLayout.ActiveDocument.1">
                  <p:embed/>
                </p:oleObj>
              </mc:Choice>
              <mc:Fallback>
                <p:oleObj name="think-cell Slide" r:id="rId65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invested capital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E1A35AF6-7D09-BAF7-B6B9-9C93F4ED0B8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789486044"/>
              </p:ext>
            </p:extLst>
          </p:nvPr>
        </p:nvGraphicFramePr>
        <p:xfrm>
          <a:off x="1574800" y="1519238"/>
          <a:ext cx="103647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2938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ABA48F8-2F5B-40B6-B8B7-F253DEF41C3B}" type="datetime'0'''''''' ''''''''''''''''''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DF6F04BA-3328-966B-1D25-C9C44AEDB3F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2096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65630C3-768B-44F9-ACDE-5883F2927E4C}" type="datetime'''''''2''''''''0''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5C21ED44-156E-7745-669A-012C2723CDC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2096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F8D81E1-E52B-4448-A166-4B1B1B83AC3D}" type="datetime'''4''''''''''''''''0'' 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83956A0F-A102-2405-62E0-DB8F40795F9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2096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1D09EF-8192-44E5-B2DC-2539DA09EBCA}" type="datetime'''''''6''0''''''''''''''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7204F606-6FC0-A213-322E-300A193270B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2096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194891B-A65A-4A20-BFAA-7A250E4F84B4}" type="datetime'''''''''''8''''''''''''''''''''0'' 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1255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7A40766-D397-4EAC-B9B9-83852AE8A2DE}" type="datetime'''1''''0''''''''''''''''''''''0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1FBDB97-8C25-B1D7-B423-D9E51706FE5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714625" y="4370389"/>
            <a:ext cx="95250" cy="60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C12D936-626E-FC21-0442-4F60563D390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629275" y="4370389"/>
            <a:ext cx="95250" cy="74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719B79A-30A7-E401-9730-35D791A11AD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629275" y="4187825"/>
            <a:ext cx="95250" cy="149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629275" y="4097339"/>
            <a:ext cx="95250" cy="1254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5629275" y="3822700"/>
            <a:ext cx="95250" cy="88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9999663" y="4370388"/>
            <a:ext cx="95250" cy="101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 flipH="1">
            <a:off x="11456988" y="4370387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125538" y="1390650"/>
            <a:ext cx="38846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invested capital, 2023 (%)</a:t>
            </a:r>
          </a:p>
        </p:txBody>
      </p:sp>
      <p:sp>
        <p:nvSpPr>
          <p:cNvPr id="253" name="Text Placeholder">
            <a:extLst>
              <a:ext uri="{FF2B5EF4-FFF2-40B4-BE49-F238E27FC236}">
                <a16:creationId xmlns:a16="http://schemas.microsoft.com/office/drawing/2014/main" id="{429DFBEB-C446-8A18-E2A4-90B2E6EE382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233612" y="418147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4F3F38A-9EF8-4C5F-B84E-A9E04881DF9E}" type="datetime'''''''''''''''''''''''''''''''''''''''''''7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4" name="Text Placeholder">
            <a:extLst>
              <a:ext uri="{FF2B5EF4-FFF2-40B4-BE49-F238E27FC236}">
                <a16:creationId xmlns:a16="http://schemas.microsoft.com/office/drawing/2014/main" id="{F3A68C9F-9245-7F87-02EF-6FDE84DB4C5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190750" y="36861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B285BCA-43FF-4892-ADC8-BE8C8BE02952}" type="datetime'''''''''''''''''''''''''''''''''''1''''''''''''4'' 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5" name="Text Placeholder">
            <a:extLst>
              <a:ext uri="{FF2B5EF4-FFF2-40B4-BE49-F238E27FC236}">
                <a16:creationId xmlns:a16="http://schemas.microsoft.com/office/drawing/2014/main" id="{446BB2BC-A47D-16EC-D45E-1F5F20340F8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648075" y="38735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4CC664-6116-4D2F-A019-1AFB0C6E4E6C}" type="datetime'''''''''''''''''''''''''''''''1''''''''''''''''''4'''' 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6" name="Text Placeholder">
            <a:extLst>
              <a:ext uri="{FF2B5EF4-FFF2-40B4-BE49-F238E27FC236}">
                <a16:creationId xmlns:a16="http://schemas.microsoft.com/office/drawing/2014/main" id="{B07989F4-6566-7CE5-5ACA-BE51EF82195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648075" y="3087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4D9672-187D-431A-9CED-9E7B7058DD43}" type="datetime'''1''''''''''''''''8'''''''''''''' ''''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B88D8B6D-5887-C99D-4FD9-FE33CD1865E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561138" y="3881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3E2BC5-ABA7-4EC6-AA9F-5BEEA16082AC}" type="datetime'''''''''1''''4'''''''' ''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CC528088-2EA0-7218-A190-8488834F22C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561138" y="30416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3221766-E7B1-4153-8D2F-B7682C0A177E}" type="datetime'''''''''''''''1''6'''' 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CB5BB3D7-9C60-1E3F-6321-DC5B826D1D8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8018463" y="38020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5BA1A5C-4EAA-4430-A361-BC679772E105}" type="datetime'''3''''''''''''''''''''''''0'''''''''''''' 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ADE64C5D-0A4B-3CF0-582C-6A580BEE8AE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8018463" y="24082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0E88EA2-4644-4A98-A936-D17F77732A13}" type="datetime'''''''''''''''''''''''''1''''''''''''6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AFA4E8E9-CE03-E7F4-E4D0-8A350AA4410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9482138" y="422116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422ECC-50FE-4152-918D-2DAEFAC96F2A}" type="datetime'''''''''''''1''''''''''''''''1 %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C971FA48-AEF4-A395-F33B-3020E7815F3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933113" y="40894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CC50E6A-3A45-4782-9EFF-DAC027145537}" type="datetime'2''''''''''''''0'''' ''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65735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FFC03F-9A6A-458F-8DD9-AB7AD5093B68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57200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E614E2-9205-45D2-B480-0449FA338588}" type="datetime'''''''F''''''''u''''''''''''''nd'''''' ''''''''''I''''''''I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029324" y="4579938"/>
            <a:ext cx="14557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615E2BB-F080-4E4C-82AF-FB29AF9A1E64}" type="datetime'''''''F''u''n''''d'''''''''''''' ''''''''''''I''''I''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114675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7E47CD-9252-4CC0-8D49-7E9B2CEE9148}" type="datetime'F''''''''u''''''''''''''''''n''''''''''''''''''''''d'' 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48506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C11CBE-9EE3-4236-9178-8136C96A056B}" type="datetime'F''''''''''''''''un''''''''''''''''''d'''''' I''''''''V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30200" y="4854576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8942388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CDCAD1-DC37-4CC3-8684-E852181DA277}" type="datetime'F''u''''''n''''d'''''''''''''''''''''''''''' V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39971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0843D7-3921-44D9-8652-0F92C5C8B304}" type="datetime'''''''''F''''''''''u''nd'''''''' ''''''''V''''''''I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65735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E88290-3683-4271-986E-4D99E37DD0E7}" type="datetime'''5''2''''''''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114675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F8A506-CCC8-4262-A464-C84B3CBFDC4E}" type="datetime'2''''''''''''4'''''''''''''''''''''''' 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57200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C4E1C9-1C78-4B67-AC33-FC33D2F5CE6E}" type="datetime'''''7''''6''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029324" y="4854576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E021DB-25A0-4585-91DE-A0337E625270}" type="datetime'''''''1''9'''''''''''''''' 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48506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4FCE36-C8B1-4999-AA61-590EB1766871}" type="datetime'''''''''0''''''''''''''''''''''''''''''''''''''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942388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E39409-98AC-42C6-A531-5A5B9F377EAB}" type="datetime'''''''7''''''''''''''''''7 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039971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68F08-E54A-4841-8242-6BA032F07534}" type="datetime'''''''''''''''''6''''''''''''''2''''''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11467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67" name="btfpBulletedList740356">
            <a:extLst>
              <a:ext uri="{FF2B5EF4-FFF2-40B4-BE49-F238E27FC236}">
                <a16:creationId xmlns:a16="http://schemas.microsoft.com/office/drawing/2014/main" id="{26D697C6-468D-7EB1-A68A-B87DE084BCA3}"/>
              </a:ext>
            </a:extLst>
          </p:cNvPr>
          <p:cNvSpPr/>
          <p:nvPr/>
        </p:nvSpPr>
        <p:spPr bwMode="gray">
          <a:xfrm>
            <a:off x="8954100" y="0"/>
            <a:ext cx="3237900" cy="14566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171" name="btfpRunningAgenda1Level573689">
            <a:extLst>
              <a:ext uri="{FF2B5EF4-FFF2-40B4-BE49-F238E27FC236}">
                <a16:creationId xmlns:a16="http://schemas.microsoft.com/office/drawing/2014/main" id="{7B37D1D5-D029-9B87-C0C2-9114B96E3ADA}"/>
              </a:ext>
            </a:extLst>
          </p:cNvPr>
          <p:cNvGrpSpPr/>
          <p:nvPr>
            <p:custDataLst>
              <p:tags r:id="rId45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172" name="btfpRunningAgenda1LevelBarLeft573689">
              <a:extLst>
                <a:ext uri="{FF2B5EF4-FFF2-40B4-BE49-F238E27FC236}">
                  <a16:creationId xmlns:a16="http://schemas.microsoft.com/office/drawing/2014/main" id="{26F22A3F-92D6-F5FD-07E8-68F0A271C42B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73" name="btfpRunningAgenda1LevelTextLeft573689">
              <a:extLst>
                <a:ext uri="{FF2B5EF4-FFF2-40B4-BE49-F238E27FC236}">
                  <a16:creationId xmlns:a16="http://schemas.microsoft.com/office/drawing/2014/main" id="{968DE291-1697-5587-FEF4-283A509AC77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174" name="Oval 173">
            <a:extLst>
              <a:ext uri="{FF2B5EF4-FFF2-40B4-BE49-F238E27FC236}">
                <a16:creationId xmlns:a16="http://schemas.microsoft.com/office/drawing/2014/main" id="{2E270162-BAE3-AF1F-FE35-996FC509E51C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D4B0D7B1-9457-1768-EB95-A5B1E81DCD3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30200" y="5219700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2260FCC-558B-4AD5-A4AA-404C415829DB}" type="datetime'''''# ''''''o''f'''' ''''''''''''P''o''r''''''t''Cos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BDDA8200-6BAD-0C60-6D05-E98865585A3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65735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BE9147-2C0A-4085-9EE9-E9EFBFBA507C}" type="datetime'''''''''''''1''''''''''0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20808BB-5A1A-D8BE-0B91-F0042130853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114675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ECA58A-7870-40C2-B70E-C880C0579962}" type="datetime'''''2''''''''''''''''''''''''''''''''''''''''''''''6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922466E4-FBA3-E956-6EF8-6E2770F89D2E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57200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8B553E-6F8C-4233-89E1-66AF0693CFE8}" type="datetime'''''1''''''''''''''''''''4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663D34FD-7701-B2AB-ABA4-2484CCD4867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6029324" y="5219700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C8FE9D-D53D-4798-928B-180BF9147975}" type="datetime'''''''''''''''''''''''1''''''6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608CD9D2-918E-9D46-7C15-841A91DDA5F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48506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2337E16-7925-457A-88DB-55F8A5881EEA}" type="datetime'''''''''''''''''''''''1''''8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35651F2-B300-77F1-B7AC-9A533463E826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942388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2472B0-EE77-44FD-BB1E-09EE4E38C144}" type="datetime'''''''''''1''''4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949ACA9D-090A-CC9F-E2D0-F23AF7F9FFF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39971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3A98FE-9EB5-46D8-8A36-C78A4215CDCF}" type="datetime'1''''''''''''2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7A86FBA-4DBE-8DD4-5D1C-984BAD53A751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330200" y="5584825"/>
            <a:ext cx="27844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C61FEAA-EE22-4A2E-83C7-9FCEE2CD76E1}" type="datetime'Fi''n''anc''''''e''d ''e''mi''ss''ion''s'''' ''''(''''''%''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3F67525-DEAF-3E56-F3EA-65CE54D38B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65735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F3D75-A77E-47BD-AF44-57D145264DC1}" type="datetime'''''''''''''''1''''''''0''''''''0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A8401822-766D-9ED3-43E4-5B6892477E49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3114675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EC70F2-8876-4F79-B7A4-B2366A88C1BF}" type="datetime'''''''''1''''''''''7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1A743EE1-4FCA-8C41-1DD6-8C6EC9CD7B6D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57200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D72BDEC-DC5B-4A99-8FDF-D4A7AB73DF2C}" type="datetime'''''''''''''1''''''''''9'''' 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82C3EC1B-E4C7-ED0C-70C1-243E168DDDE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029324" y="5584825"/>
            <a:ext cx="14557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EF20C1-E49A-4FAA-B086-65D664E79786}" type="datetime'''''''1''''''''0'''''' %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F3309BF-6695-7FA2-874A-756F9616E82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48506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C0ADBC-4993-415A-A9B2-A076D2D326FA}" type="datetime'''1''0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4703C05B-6E88-E509-6A9C-2C14789BB61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42388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DF925D-7B37-4321-B9E4-0F4C1189A56E}" type="datetime'''''2''''''''''''''''''6'''''''''''''''''' 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86168203-0D44-508C-5F61-BD0F4A36572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39971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7D957A-EC9A-4C81-8AF8-03BC88E82093}" type="datetime'''''1''''8''''''''''''''''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CD897532-C37C-AA5D-C99A-499E54934F8E}"/>
              </a:ext>
            </a:extLst>
          </p:cNvPr>
          <p:cNvSpPr txBox="1"/>
          <p:nvPr>
            <p:custDataLst>
              <p:tags r:id="rId6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81547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56632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6" imgW="484" imgH="486" progId="TCLayout.ActiveDocument.1">
                  <p:embed/>
                </p:oleObj>
              </mc:Choice>
              <mc:Fallback>
                <p:oleObj name="think-cell Slide" r:id="rId126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invested capital</a:t>
            </a: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3C089A2D-3688-F707-802D-F3F1EAB923A7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52230635"/>
              </p:ext>
            </p:extLst>
          </p:nvPr>
        </p:nvGraphicFramePr>
        <p:xfrm>
          <a:off x="2127250" y="1703388"/>
          <a:ext cx="9812338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24063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23C02F6-3A78-495B-B583-B2E9F3788631}" type="datetime'''''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BC409BCB-B44C-1379-5CEE-EC46E6D6CD5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024063" y="38576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D6B00F0-F6C8-478F-AB76-5D2C4D58C283}" type="datetime'''''''''''''2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498229F-ED6B-EE25-BF91-AD184E957E5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24063" y="331628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604C9B1-06B3-44CF-A2CD-8B57B4815B1A}" type="datetime'''''''''''''''''''''''''''''''''''''''4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514830BE-0927-9940-020F-3E7A470DE2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24063" y="27765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252B2BC-D9A5-43EB-963A-DF70FBBF1CE6}" type="datetime'''''''6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E42E107C-BA4E-C5E4-AFD6-AC572E52A14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24063" y="22352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2F7C4D-7972-4C64-94C3-F1C95C6F7BD2}" type="datetime'''''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DC5EA129-D2AC-6163-4197-5CC746F3BC7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939926" y="1695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31DF86-FB11-4DB4-B4D5-41461F076136}" type="datetime'''''''''''''''1''''''''''''''0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27C700F-BB08-3EBA-9C07-C964E94A319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5961063" y="3732212"/>
            <a:ext cx="95250" cy="5651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6B15C7F-5C10-8B54-034E-6DE2397473F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3205163" y="4370387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DF09925-C3DF-3D2E-AABF-DD8F473D179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4583113" y="3914775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BBD26DBA-B849-0E2E-7E89-DDC0E43C5A8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>
            <a:off x="3205163" y="4187825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5961063" y="4097338"/>
            <a:ext cx="95250" cy="3397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A6C78CE-9418-C5CC-3065-ED6490D0729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4583113" y="3732213"/>
            <a:ext cx="95250" cy="485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3D105D8-87D0-8332-1127-31D595E7BAE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73406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883551C7-E90D-4032-CA3A-7779368EC98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4583113" y="3549649"/>
            <a:ext cx="95250" cy="584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 flipH="1">
            <a:off x="5961063" y="3914775"/>
            <a:ext cx="95250" cy="4635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 flipH="1">
            <a:off x="5961063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8672ECDC-7EA4-3826-8008-0130D35FC17B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4583113" y="4370388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38652FCF-8699-09A0-11AF-42DA840D608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7340600" y="4279899"/>
            <a:ext cx="95250" cy="165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CB0398E-5EF4-4E91-A982-B34644E13A21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4583113" y="4279900"/>
            <a:ext cx="95250" cy="130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961063" y="4279900"/>
            <a:ext cx="95250" cy="1793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6B7EA51-57C1-C0C4-0DA5-F3C45BABC4C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7340600" y="4097338"/>
            <a:ext cx="95250" cy="314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8A94B88-E138-16B6-5B99-0AF9C375E07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 flipH="1">
            <a:off x="7340600" y="3914775"/>
            <a:ext cx="95250" cy="460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1C65781A-827D-8B5D-F2B1-4F41FCD645C1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>
            <a:off x="7340600" y="3732213"/>
            <a:ext cx="95250" cy="598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E53FB82-7B3E-49CE-10FB-17A0DC074FAE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 flipH="1">
            <a:off x="7340600" y="3549650"/>
            <a:ext cx="95250" cy="735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03DE9BF7-810A-2448-614D-793A356ABCE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8718550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6EC880E3-24A0-4A83-BCA6-B8A04A228C00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8718550" y="4279900"/>
            <a:ext cx="95250" cy="1571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4EF0A1FE-E02A-BA61-CCEA-03BB1780DC89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 flipH="1">
            <a:off x="8718550" y="4097338"/>
            <a:ext cx="95250" cy="2730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8F332EEC-3F74-8CCF-7F4E-1EF5F6231DEE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gray">
          <a:xfrm flipH="1">
            <a:off x="8718550" y="3914775"/>
            <a:ext cx="95250" cy="404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C6539FA-5C78-D0CE-9FE4-E35AF351C734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 flipH="1">
            <a:off x="8718550" y="3732213"/>
            <a:ext cx="95250" cy="549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gray">
          <a:xfrm flipH="1">
            <a:off x="1009650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909A320A-48FC-7BB5-FF38-1A36D7BFF675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gray">
          <a:xfrm flipH="1">
            <a:off x="10096500" y="4279900"/>
            <a:ext cx="95250" cy="1635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7B43649-A4ED-54BD-60DE-E369A1CA824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gray">
          <a:xfrm flipH="1">
            <a:off x="4583113" y="4097338"/>
            <a:ext cx="95250" cy="257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F8D7F866-FA10-D774-AB63-135B383771FB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 flipH="1">
            <a:off x="10096500" y="4097338"/>
            <a:ext cx="95250" cy="271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gray">
          <a:xfrm flipH="1">
            <a:off x="1147445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5451E49-1545-3B84-9377-420E43C054A8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 flipH="1">
            <a:off x="11474450" y="4279900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4A791D2-6591-062B-7C7A-66BE8F08760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74450" y="4097338"/>
            <a:ext cx="95250" cy="2254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0A2C80E-CF00-3819-8B49-4F1C739EA8DA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74450" y="3914775"/>
            <a:ext cx="95250" cy="292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">
            <a:extLst>
              <a:ext uri="{FF2B5EF4-FFF2-40B4-BE49-F238E27FC236}">
                <a16:creationId xmlns:a16="http://schemas.microsoft.com/office/drawing/2014/main" id="{1949CEA9-AFDA-2902-840E-24B0BA23089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05631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235F109-53BA-49C8-8A72-4A6F9DD63D17}" type="datetime'0.''''''''1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1" name="Text Placeholder">
            <a:extLst>
              <a:ext uri="{FF2B5EF4-FFF2-40B4-BE49-F238E27FC236}">
                <a16:creationId xmlns:a16="http://schemas.microsoft.com/office/drawing/2014/main" id="{7E43EBD4-3118-8BCD-FDD0-6DF7D688E3ED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05631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13D6C31-95CF-4809-B855-25FD8716DFAF}" type="datetime'''''''''''''''''''0''''''''''''''''.''''''''''5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2" name="Text Placeholder">
            <a:extLst>
              <a:ext uri="{FF2B5EF4-FFF2-40B4-BE49-F238E27FC236}">
                <a16:creationId xmlns:a16="http://schemas.microsoft.com/office/drawing/2014/main" id="{51DFFE0B-0BBB-C02D-FF17-7E78106E195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526088" y="40132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E83929-356D-4774-962D-45C32452AD9A}" type="datetime'''''''''''''''''''''''''''''0.''9'''''">
              <a:rPr lang="en-GB" altLang="en-US" sz="1200" smtClean="0">
                <a:solidFill>
                  <a:srgbClr val="FFFFFF"/>
                </a:solidFill>
              </a:rPr>
              <a:pPr/>
              <a:t>0.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83" name="Text Placeholder">
            <a:extLst>
              <a:ext uri="{FF2B5EF4-FFF2-40B4-BE49-F238E27FC236}">
                <a16:creationId xmlns:a16="http://schemas.microsoft.com/office/drawing/2014/main" id="{22BEBBA6-7DCE-FF1D-4483-B010FD892EC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74358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46034E6-5CC2-4450-9A7C-FC1F838453C5}" type="datetime'''''''''''''''''0''''''''''''''''''''''''''''.1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4" name="Text Placeholder">
            <a:extLst>
              <a:ext uri="{FF2B5EF4-FFF2-40B4-BE49-F238E27FC236}">
                <a16:creationId xmlns:a16="http://schemas.microsoft.com/office/drawing/2014/main" id="{DF550A41-15E4-5D4E-E13D-7C6D9096B032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4358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2615584-AD9A-476E-B426-A6616066BEC0}" type="datetime'''''''''''''''''''''''''''''0''''''''''''.''''1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5" name="Text Placeholder">
            <a:extLst>
              <a:ext uri="{FF2B5EF4-FFF2-40B4-BE49-F238E27FC236}">
                <a16:creationId xmlns:a16="http://schemas.microsoft.com/office/drawing/2014/main" id="{1AAE9BD3-1DEE-84B9-7F12-222FC89B6979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4358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E465C41-6E2F-435B-9C64-AAD97269981E}" type="datetime'''''''''''''0''''''''.''''''''''''''''''''''1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939925" y="1390650"/>
            <a:ext cx="3917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invested capital, 2023 ($b)</a:t>
            </a:r>
          </a:p>
        </p:txBody>
      </p:sp>
      <p:sp>
        <p:nvSpPr>
          <p:cNvPr id="286" name="Text Placeholder">
            <a:extLst>
              <a:ext uri="{FF2B5EF4-FFF2-40B4-BE49-F238E27FC236}">
                <a16:creationId xmlns:a16="http://schemas.microsoft.com/office/drawing/2014/main" id="{A591D51A-27FD-0149-F3C6-3ADB4E83C336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743585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2F48965-21E4-4839-9283-3F6D6AF3089C}" type="datetime'''''''''''''''0''''''''''''''''''''''''''''.''''''''''''1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BB71EE64-E149-994A-B34B-B40D98D9F36B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33004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0A46AA1-3FEF-495C-B501-81F7FA7821F4}" type="datetime'0''''''''''''.''''''''4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7" name="Text Placeholder">
            <a:extLst>
              <a:ext uri="{FF2B5EF4-FFF2-40B4-BE49-F238E27FC236}">
                <a16:creationId xmlns:a16="http://schemas.microsoft.com/office/drawing/2014/main" id="{EC0228A0-870A-A801-0D80-E96AD5306633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43585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A274266-9CB8-42F9-B967-B12FFB71E1F0}" type="datetime'0''''.''''''2''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7999756C-83F0-ABB4-6E3A-904A7F2FFE2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3004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2CEAC10-D40C-4066-B0A0-B238CF9DB817}" type="datetime'''''''''''''''''''''''0''''.''7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8" name="Text Placeholder">
            <a:extLst>
              <a:ext uri="{FF2B5EF4-FFF2-40B4-BE49-F238E27FC236}">
                <a16:creationId xmlns:a16="http://schemas.microsoft.com/office/drawing/2014/main" id="{666F73E6-5E5B-670C-2F3B-8B5ABF175B7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7435850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0E424F5-0AFA-4343-9464-55B3FC4D1815}" type="datetime'''''''''''''''''0''''''''''''''''''''''''.''''''''''2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F80E2E9F-18DC-576D-4260-9C364DF70405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2770188" y="4005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7E63D6-0A16-4422-9772-510BA6DC21A8}" type="datetime'''''''''''''0''''''''''''''''''.''''''7''''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9" name="Text Placeholder">
            <a:extLst>
              <a:ext uri="{FF2B5EF4-FFF2-40B4-BE49-F238E27FC236}">
                <a16:creationId xmlns:a16="http://schemas.microsoft.com/office/drawing/2014/main" id="{F12BB790-B2EE-8747-F060-E0BB9DD3B284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88138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8A907B-B50B-48F0-B7C9-AB31DFEA6071}" type="datetime'''''''0''''.''1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2770188" y="372903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F18010D-AB4D-4550-B2EC-A6A3A1CADEDC}" type="datetime'''''''''''''''''''''''1''''''.''''''''''''''''''''''4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0" name="Text Placeholder">
            <a:extLst>
              <a:ext uri="{FF2B5EF4-FFF2-40B4-BE49-F238E27FC236}">
                <a16:creationId xmlns:a16="http://schemas.microsoft.com/office/drawing/2014/main" id="{BB994E76-041E-EDE0-14B1-78D9D59C399C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88138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16AC423-4B6E-462B-A09D-A625C5D3F0E2}" type="datetime'''''''''''''''''''''''''''''''''''''''''0''''''''.''3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5078C27A-FF7B-21A1-EA66-1000653A5E6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2770188" y="33639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7A5CB0-26E5-43C4-BA84-01F440994C9A}" type="datetime'''''''''''''1''''.''''''''''''''''''''''''''''''''''4'">
              <a:rPr lang="en-GB" altLang="en-US" sz="1200" smtClean="0">
                <a:solidFill>
                  <a:srgbClr val="000000"/>
                </a:solidFill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1" name="Text Placeholder">
            <a:extLst>
              <a:ext uri="{FF2B5EF4-FFF2-40B4-BE49-F238E27FC236}">
                <a16:creationId xmlns:a16="http://schemas.microsoft.com/office/drawing/2014/main" id="{115117AF-37C1-5060-2E8B-EB852AA04574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8138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D4E99F4-F7A6-414E-89EE-D5610861BF25}" type="datetime'''0''''''''''''''.''''''''''''''''''''''2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470337A6-8D55-D422-5C96-10BD8B589AA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2770188" y="2843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F1D45B-CF76-4134-AA96-A33DE89E810B}" type="datetime'''2''''''''''''''''''''''''.''''''5'''''''''">
              <a:rPr lang="en-GB" altLang="en-US" sz="1200" smtClean="0">
                <a:solidFill>
                  <a:srgbClr val="FFFFFF"/>
                </a:solidFill>
              </a:rPr>
              <a:pPr/>
              <a:t>2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2" name="Text Placeholder">
            <a:extLst>
              <a:ext uri="{FF2B5EF4-FFF2-40B4-BE49-F238E27FC236}">
                <a16:creationId xmlns:a16="http://schemas.microsoft.com/office/drawing/2014/main" id="{EA107B84-3E5D-17A6-F7E7-2207256D80C6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88138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2B53A26-C32D-46F1-A184-C0BDAC29CA45}" type="datetime'''''''''0''''''''''''''.''''''''''1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74C9DC8F-D45D-C4AC-A9A7-F5F287E5E077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2770188" y="2181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0A2138-AAEF-4FC7-BB04-F5E92548EEB4}" type="datetime'''''2.''''''''''''''''''''''''''''''''4'">
              <a:rPr lang="en-GB" altLang="en-US" sz="1200" smtClean="0">
                <a:solidFill>
                  <a:srgbClr val="FFFFFF"/>
                </a:solidFill>
              </a:rPr>
              <a:pPr/>
              <a:t>2.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3" name="Text Placeholder">
            <a:extLst>
              <a:ext uri="{FF2B5EF4-FFF2-40B4-BE49-F238E27FC236}">
                <a16:creationId xmlns:a16="http://schemas.microsoft.com/office/drawing/2014/main" id="{0E6C2A96-6EAE-028E-441E-46ACA4FD7F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881380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3BB1CFA-2745-463A-881C-5D538B288753}" type="datetime'''''''''''''''''''''''''''0''''.''''''''''''''''''''2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FA045BB1-A8C5-C258-4660-657755B06919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467836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C052411-D91E-4CC1-A8ED-65184FAF729B}" type="datetime'''''''''''''''''0''.''''2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4" name="Text Placeholder">
            <a:extLst>
              <a:ext uri="{FF2B5EF4-FFF2-40B4-BE49-F238E27FC236}">
                <a16:creationId xmlns:a16="http://schemas.microsoft.com/office/drawing/2014/main" id="{3FD39D6D-302D-59D0-2067-83C07177B064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101917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B9CC59D-DAAD-4942-9BBE-3D590DA1E5E2}" type="datetime'''''''0''''''''''''''.''0''''''''''''''''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2" name="Text Placeholder">
            <a:extLst>
              <a:ext uri="{FF2B5EF4-FFF2-40B4-BE49-F238E27FC236}">
                <a16:creationId xmlns:a16="http://schemas.microsoft.com/office/drawing/2014/main" id="{7406C6C4-08E4-23C8-ED24-8F75AAAE44A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467836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251C8EF-5860-490E-AF3A-839CE5D217D6}" type="datetime'''''0''''''''''''''''''''''''''''.''2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5" name="Text Placeholder">
            <a:extLst>
              <a:ext uri="{FF2B5EF4-FFF2-40B4-BE49-F238E27FC236}">
                <a16:creationId xmlns:a16="http://schemas.microsoft.com/office/drawing/2014/main" id="{246428C4-10CC-081A-F0C4-AAAA05E464F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101917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9798F7C-5B42-4522-BDF5-83DE44D5CE3B}" type="datetime'''''''''0''.''''''''''''''''''''''''''''''''''''''''''3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3" name="Text Placeholder">
            <a:extLst>
              <a:ext uri="{FF2B5EF4-FFF2-40B4-BE49-F238E27FC236}">
                <a16:creationId xmlns:a16="http://schemas.microsoft.com/office/drawing/2014/main" id="{69C8E870-5B30-C335-12A7-C4E38402F1A9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467836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00FA7E0-5C3D-4331-AE9E-8EE2FD513A76}" type="datetime'''''''''''''''''''''''''''''''''''''0''''''''''.''''2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4" name="Text Placeholder">
            <a:extLst>
              <a:ext uri="{FF2B5EF4-FFF2-40B4-BE49-F238E27FC236}">
                <a16:creationId xmlns:a16="http://schemas.microsoft.com/office/drawing/2014/main" id="{F8A44DE7-0DD1-35DE-2329-AB72CD63CB2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467836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944581C-33FC-4A35-ABD0-6517169B972F}" type="datetime'''''''0''''''''''.''''''''''''''''''''3''''''''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5" name="Text Placeholder">
            <a:extLst>
              <a:ext uri="{FF2B5EF4-FFF2-40B4-BE49-F238E27FC236}">
                <a16:creationId xmlns:a16="http://schemas.microsoft.com/office/drawing/2014/main" id="{454CF9ED-C6A9-F5AF-66F6-9C60DDB4C9C7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467836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6F9AE56-F537-40B8-B184-872827C6F9AF}" type="datetime'''''''''''''''0''''.''''''''''''''''''''''3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7" name="Text Placeholder">
            <a:extLst>
              <a:ext uri="{FF2B5EF4-FFF2-40B4-BE49-F238E27FC236}">
                <a16:creationId xmlns:a16="http://schemas.microsoft.com/office/drawing/2014/main" id="{48EAC2B4-C8C6-3233-A190-8BD14F71CDD1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9661525" y="41068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C5DCB4-B2AC-412C-A242-5D6910EBC25A}" type="datetime'''''''''''''''''''''1.0''''''''''''''''''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8" name="Text Placeholder">
            <a:extLst>
              <a:ext uri="{FF2B5EF4-FFF2-40B4-BE49-F238E27FC236}">
                <a16:creationId xmlns:a16="http://schemas.microsoft.com/office/drawing/2014/main" id="{7FDEDCA4-05F1-8E8C-00F9-C8992CE3859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9661525" y="3843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5C3921-44C9-439D-960E-A4EF7AE5F3FB}" type="datetime'''''''''''''''''''''''''''''''''''''''''''''1''''''''.0''''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9" name="Text Placeholder">
            <a:extLst>
              <a:ext uri="{FF2B5EF4-FFF2-40B4-BE49-F238E27FC236}">
                <a16:creationId xmlns:a16="http://schemas.microsoft.com/office/drawing/2014/main" id="{B26999FE-6C05-6879-6DE8-3052271D7C87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115697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7253249-FA92-4F6D-9EBA-A65B128DBB65}" type="datetime'''''''''''''''''''0''''''''''''.''''''''''''''''''''''''''0''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6" name="Text Placeholder">
            <a:extLst>
              <a:ext uri="{FF2B5EF4-FFF2-40B4-BE49-F238E27FC236}">
                <a16:creationId xmlns:a16="http://schemas.microsoft.com/office/drawing/2014/main" id="{8DA42BCB-CFF0-E549-BD93-B98D9C245CC3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4678363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ADA29DE-5EF9-42B7-8E15-5E851C554D89}" type="datetime'''''''0''''''''''''''''.''''''''''''''''''''''4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0" name="Text Placeholder">
            <a:extLst>
              <a:ext uri="{FF2B5EF4-FFF2-40B4-BE49-F238E27FC236}">
                <a16:creationId xmlns:a16="http://schemas.microsoft.com/office/drawing/2014/main" id="{2E71BDEB-ABA8-DA92-CB69-6CD0C06A11B7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15697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FF20086-2BB5-4169-97FF-63D920FE78AA}" type="datetime'''''''''''''''''''''0''''.4''''''''''''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7" name="Text Placeholder">
            <a:extLst>
              <a:ext uri="{FF2B5EF4-FFF2-40B4-BE49-F238E27FC236}">
                <a16:creationId xmlns:a16="http://schemas.microsoft.com/office/drawing/2014/main" id="{92D6B702-1124-79A9-127E-854397E6153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60563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11962AF-DBCA-4029-871A-F1DE4C112A66}" type="datetime'''''''''''0''''''''''''.''''''''''''''''''''''''''''''1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1" name="Text Placeholder">
            <a:extLst>
              <a:ext uri="{FF2B5EF4-FFF2-40B4-BE49-F238E27FC236}">
                <a16:creationId xmlns:a16="http://schemas.microsoft.com/office/drawing/2014/main" id="{64CC8C74-08C7-0421-4F5D-E13DCFCB231C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115697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F68E66E-DDEE-42B4-B2FC-BE9D3907AB6D}" type="datetime'''''''0''''''''''''''.''''''''''4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8" name="Text Placeholder">
            <a:extLst>
              <a:ext uri="{FF2B5EF4-FFF2-40B4-BE49-F238E27FC236}">
                <a16:creationId xmlns:a16="http://schemas.microsoft.com/office/drawing/2014/main" id="{9B1ED917-3A56-8CB4-FB6D-2DB3E7940892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60563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7D956BC-7D60-4FAC-920D-7BE2912B2B6A}" type="datetime'''0''''''''''''''''''''''.''''''''''1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6" name="Text Placeholder">
            <a:extLst>
              <a:ext uri="{FF2B5EF4-FFF2-40B4-BE49-F238E27FC236}">
                <a16:creationId xmlns:a16="http://schemas.microsoft.com/office/drawing/2014/main" id="{077DAABA-E09E-2ACB-359E-EFDA838D6E9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01917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3E52FC0-CA46-4478-9D30-EF8838F28BAC}" type="datetime'''''''''''''''''''0''''''.''''''3''''''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9" name="Text Placeholder">
            <a:extLst>
              <a:ext uri="{FF2B5EF4-FFF2-40B4-BE49-F238E27FC236}">
                <a16:creationId xmlns:a16="http://schemas.microsoft.com/office/drawing/2014/main" id="{1E23FEFA-ED19-FA61-5337-1602E27BF5F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605631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3BF88BA-6245-4E8F-A605-473213EB3E13}" type="datetime'0.''''''''1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3" name="Text Placeholder">
            <a:extLst>
              <a:ext uri="{FF2B5EF4-FFF2-40B4-BE49-F238E27FC236}">
                <a16:creationId xmlns:a16="http://schemas.microsoft.com/office/drawing/2014/main" id="{6BE8ACF6-9B0A-46AC-F733-038C172EA5A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11039475" y="39465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0CA818-FE49-4A02-8EB7-A35FE0569643}" type="datetime'''''''''''''''''''''0''''''''.''8'">
              <a:rPr lang="en-GB" altLang="en-US" sz="1200" smtClean="0">
                <a:solidFill>
                  <a:srgbClr val="FFFFFF"/>
                </a:solidFill>
              </a:rPr>
              <a:pPr/>
              <a:t>0.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2770188" y="173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282C68-A297-412E-82EE-D4217B7D073A}" type="datetime'''9''''''''''''''''''''''''''''''.''''4'''''''''''''''''''''">
              <a:rPr lang="en-GB" altLang="en-US" sz="1200" smtClean="0">
                <a:solidFill>
                  <a:srgbClr val="000000"/>
                </a:solidFill>
              </a:rPr>
              <a:pPr/>
              <a:t>9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4148138" y="3878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98BA1D-513C-46CE-AFB9-0D7E67CB5B61}" type="datetime'''1''''''''''''''''''''.''''''''''''''''''''''''''''5'''">
              <a:rPr lang="en-GB" altLang="en-US" sz="1200" smtClean="0">
                <a:solidFill>
                  <a:srgbClr val="000000"/>
                </a:solidFill>
              </a:rPr>
              <a:pPr/>
              <a:t>1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5526088" y="37687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36054F-38E0-4F15-BE7D-AB57FD94AF88}" type="datetime'''''''''''''''''1''''''''''''''''''''''.''''''''9'''">
              <a:rPr lang="en-GB" altLang="en-US" sz="1200" smtClean="0">
                <a:solidFill>
                  <a:srgbClr val="000000"/>
                </a:solidFill>
              </a:rPr>
              <a:pPr/>
              <a:t>1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6905625" y="40560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891306-68DA-42BB-B7CC-76456DE5F9CC}" type="datetime'''''''''0''''''''''''''''''''''''''''''''''''.''''8''''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8283575" y="40528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144A47-FED7-4D64-89A8-813583B40FA9}" type="datetime'''''''''''''''''''''0''''''''''''''''''''''''''''''''.8''''''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9661525" y="35956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BD7E29-04E6-4F9A-9A6C-A64880B349F7}" type="datetime'2''''''''''''''''''''''''''.5'''''">
              <a:rPr lang="en-GB" altLang="en-US" sz="1200" smtClean="0">
                <a:solidFill>
                  <a:srgbClr val="000000"/>
                </a:solidFill>
              </a:rPr>
              <a:pPr/>
              <a:t>2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11039475" y="37274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3A65EF-D3F8-42C6-BC4C-D7054BE6D24D}" type="datetime'''''''''2.''''''''''''''''''''0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2" name="Text Placeholder">
            <a:extLst>
              <a:ext uri="{FF2B5EF4-FFF2-40B4-BE49-F238E27FC236}">
                <a16:creationId xmlns:a16="http://schemas.microsoft.com/office/drawing/2014/main" id="{A7021A5F-D4EB-0BB7-EE1C-2CCE103C1F36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15697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D5C72E4-812F-4D72-B8D7-A5375DFC2838}" type="datetime'''''''''''''0''''''.5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20980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8BEBF6-B5A8-4EBC-827E-1E2D0E2F0EF5}" type="datetime'''''T''''''''''''''''''''o''''''''''''''''t''a''l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964113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756A05A-F106-46B0-AD29-3409FA4B5999}" type="datetime'''''F''u''n''''d'''''''' ''''''''''''I''''''I'''''''">
              <a:rPr lang="en-GB" altLang="en-US" sz="1200" smtClean="0">
                <a:solidFill>
                  <a:srgbClr val="000000"/>
                </a:solidFill>
              </a:rPr>
              <a:pPr/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34365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7037215-8822-4A94-A02D-1EBFD927E3C0}" type="datetime'''''''F''''un''d'''''' ''''''''''''I''''I''''''''''I'''''''''">
              <a:rPr lang="en-GB" altLang="en-US" sz="1200" smtClean="0">
                <a:solidFill>
                  <a:srgbClr val="000000"/>
                </a:solidFill>
              </a:rPr>
              <a:pPr/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587750" y="4579938"/>
            <a:ext cx="1376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9D8CDC-CEEA-4632-BFFE-138D4DBA5732}" type="datetime'''F''''''''''''''un''''d'''''''''''' ''I'''''''''">
              <a:rPr lang="en-GB" altLang="en-US" sz="1200" smtClean="0">
                <a:solidFill>
                  <a:srgbClr val="000000"/>
                </a:solidFill>
              </a:rPr>
              <a:pPr/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721599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3488DDC-DC36-4C76-AE52-B382D8F20151}" type="datetime'''''''''''''F''''''''''''''''''''''''''''u''''''nd'''''''' IV'">
              <a:rPr lang="en-GB" altLang="en-US" sz="1200" smtClean="0">
                <a:solidFill>
                  <a:srgbClr val="000000"/>
                </a:solidFill>
              </a:rPr>
              <a:pPr/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95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30199" y="4854575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BB060E0-9148-4F10-A89B-C2FF9F65C8B0}" type="datetime'Alig''''''''''''nme''''n''''t'' l''e''''''v''e''''l''''''''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9101137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3B702C-7A31-4C41-8643-CE16AD2BED49}" type="datetime'''F''''u''n''''''''''''''''''''''''''d'''''''''''''' V'''''">
              <a:rPr lang="en-GB" altLang="en-US" sz="1200" smtClean="0">
                <a:solidFill>
                  <a:srgbClr val="000000"/>
                </a:solidFill>
              </a:rPr>
              <a:pPr/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10479088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894A5EA-81D0-4498-89A2-5CEE9478DFAC}" type="datetime'''''''''''F''''u''''n''''''''d'' ''''''''V''''''''I'''''''''">
              <a:rPr lang="en-GB" altLang="en-US" sz="1200" smtClean="0">
                <a:solidFill>
                  <a:srgbClr val="000000"/>
                </a:solidFill>
              </a:rPr>
              <a:pPr/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220980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15CCE8-4C22-46BC-8F6F-93BDC73E1AEF}" type="datetime'5''''''''''''''''''''''2'''''''' 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3587750" y="4854575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11C05D-66A6-4159-9E69-D88D1C35658E}" type="datetime'''''''''''2''''''4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4964113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901891-F5E9-451A-99A1-EDE087B99270}" type="datetime'''7''''''''''''''''''''''''''''''6'''' 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634365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917C7B-482B-4A95-AA36-602A3E8DD569}" type="datetime'''''''''''''''''1''''''''''''9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721599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2EFEDA-1C18-4D39-A0C0-363E929EF842}" type="datetime'''''''0'''''''''''''''''''''' 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9101137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984CCC-F447-470A-9A46-4ED96C5C13D7}" type="datetime'''''''''''''7''''''''''''''''''''''''7 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10479088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8BA56E-E256-4E1E-9FF5-1A186A593B10}" type="datetime'''''''''''''6''''2'''''''''''''''''''''''''''''''''''''''' 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590664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04F33FF4-F224-186B-6A2D-2A7E13454FE9}"/>
              </a:ext>
            </a:extLst>
          </p:cNvPr>
          <p:cNvGrpSpPr/>
          <p:nvPr>
            <p:custDataLst>
              <p:tags r:id="rId106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3" name="btfpRunningAgenda1LevelBarLeft573689">
              <a:extLst>
                <a:ext uri="{FF2B5EF4-FFF2-40B4-BE49-F238E27FC236}">
                  <a16:creationId xmlns:a16="http://schemas.microsoft.com/office/drawing/2014/main" id="{25F79BD5-4A90-B04E-2852-605E7030E50A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1LevelTextLeft573689">
              <a:extLst>
                <a:ext uri="{FF2B5EF4-FFF2-40B4-BE49-F238E27FC236}">
                  <a16:creationId xmlns:a16="http://schemas.microsoft.com/office/drawing/2014/main" id="{4248D941-2F99-6CE7-5E1D-9162F0EA8519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47" name="btfpBulletedList643555">
            <a:extLst>
              <a:ext uri="{FF2B5EF4-FFF2-40B4-BE49-F238E27FC236}">
                <a16:creationId xmlns:a16="http://schemas.microsoft.com/office/drawing/2014/main" id="{A9C51C7D-42B8-E753-E6FD-E111D36E5CD0}"/>
              </a:ext>
            </a:extLst>
          </p:cNvPr>
          <p:cNvSpPr/>
          <p:nvPr/>
        </p:nvSpPr>
        <p:spPr bwMode="gray">
          <a:xfrm>
            <a:off x="8954100" y="1"/>
            <a:ext cx="3237900" cy="149717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C6447806-3E6A-1A53-9E74-5A8C56FDBBF6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96C50777-C0C6-E7B9-AD9C-67ECB4D0C1C4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330199" y="5219700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5356A96-787A-4267-B058-9834C3DBDDBC}" type="datetime'''# ''''''of'''''''''''' ''''PortC''''''''''''''o''''''s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81682F11-C926-82DE-644F-9CDD2AEB4288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220980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D4EA2A-CECD-4A2E-9034-F0B3D99934E9}" type="datetime'''''''''10''''''''''''''''''''''''''0''''''''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2B2123CD-A311-0715-C728-22C69E28B45C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3587750" y="5219700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D4EB30-5DBD-4697-A0CB-593D7D3B120F}" type="datetime'''2''6''''''''''''''''''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B65A932B-D7C1-171B-B4FF-C2DA240F4CA5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4964113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CEBD84F-3B07-4D5B-880C-38D5DC17DC2D}" type="datetime'''''''''1''''''4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11527160-5F56-A713-B54A-66ED2692A190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634365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349A9E-C8A2-4C8A-9592-DE1EBFDC4C01}" type="datetime'''''''''''''''1''''''''''''''''''''''''''''''''6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FACC08F5-FA9B-6EB8-DCA2-60A9B1652865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721599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B7E35C-BBD4-402C-88D6-479D9CE66D75}" type="datetime'1''''''''''''''8''''''''''''''''''''''''''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AE05833-C9C3-8E1A-BAC1-C113990126EA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9101137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B74230-E6BB-49AE-AF27-7B0CA51DD7DB}" type="datetime'''''''''''''''''''''''''''''''''''''''''''''1''''''4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1101D936-C1BF-193D-7B47-A9EA1301EFC0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10479088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4039BE-1DDB-41D0-A52D-A91C4E6488B8}" type="datetime'''''''''''''''''''''''''''''12''''''''''''''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5" name="Text Placeholder">
            <a:extLst>
              <a:ext uri="{FF2B5EF4-FFF2-40B4-BE49-F238E27FC236}">
                <a16:creationId xmlns:a16="http://schemas.microsoft.com/office/drawing/2014/main" id="{05D3E4CE-ED8B-85B1-98C7-886522724FEF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220980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CFBCDA-92C7-4614-B5E2-AF6581C736D0}" type="datetime'''''''''''''''''''''''''1''''''''''''''4,8''''''''''''00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6" name="Text Placeholder">
            <a:extLst>
              <a:ext uri="{FF2B5EF4-FFF2-40B4-BE49-F238E27FC236}">
                <a16:creationId xmlns:a16="http://schemas.microsoft.com/office/drawing/2014/main" id="{D90FD5A4-11BF-ABD3-B034-9DE12DE12354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3587750" y="5584825"/>
            <a:ext cx="1376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7A290A-5F17-4473-BBAC-AB4DF7517B1D}" type="datetime'''2'''''''',''''''''''''''''''4''''6''''''''''''''5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45E942EC-2626-A93A-318B-6F91232DA58A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4964113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8335437-7197-4AFC-95E1-73CBCF16B982}" type="datetime'2'''''''''''''''',''''''''''8''''''''''''''''''''''5''''5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97BD15B7-6228-9688-7C82-35E87E140FF9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634365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57F684-C8C3-4997-9805-DB854D063316}" type="datetime'''''''''''''''1,''''''''''4''''''''2''0''''''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9" name="Text Placeholder">
            <a:extLst>
              <a:ext uri="{FF2B5EF4-FFF2-40B4-BE49-F238E27FC236}">
                <a16:creationId xmlns:a16="http://schemas.microsoft.com/office/drawing/2014/main" id="{A47601B2-AAFF-F859-0369-52C3C6C005A6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721599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84375C-E57A-45FC-AA52-41069F93FB7B}" type="datetime'1'',''''''4''''''''''2''''''''''''''''''''''5''''''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0" name="Text Placeholder">
            <a:extLst>
              <a:ext uri="{FF2B5EF4-FFF2-40B4-BE49-F238E27FC236}">
                <a16:creationId xmlns:a16="http://schemas.microsoft.com/office/drawing/2014/main" id="{66A009AB-53F4-EF27-1227-C4349B66EC71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9101137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62FEE2-B1B8-4BE1-AA07-3DB4EF50FFAD}" type="datetime'''''''''''3'''',''''''''''''87''0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1" name="Text Placeholder">
            <a:extLst>
              <a:ext uri="{FF2B5EF4-FFF2-40B4-BE49-F238E27FC236}">
                <a16:creationId xmlns:a16="http://schemas.microsoft.com/office/drawing/2014/main" id="{D0DBCCEC-DCEB-5348-AE9E-F7734F608599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10479088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031BFA-BD0D-4A27-AF2A-29798C3FABF7}" type="datetime'''2'''''''''''''''''''''',''''6''''8''8''''''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279E1EBD-71F5-CA4A-B540-5ADDD0836A3D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330199" y="5584825"/>
            <a:ext cx="32575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9903F2B-30D9-42A7-92D2-2CED9A3F8BF2}" type="datetime'Fina''n''ced e''''missi''ons'' ''(''''''''t''''''''CO2e)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35540A33-B450-0B19-4AE3-4B912D89AD9B}"/>
              </a:ext>
            </a:extLst>
          </p:cNvPr>
          <p:cNvSpPr txBox="1"/>
          <p:nvPr>
            <p:custDataLst>
              <p:tags r:id="rId12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553129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591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84" imgH="486" progId="TCLayout.ActiveDocument.1">
                  <p:embed/>
                </p:oleObj>
              </mc:Choice>
              <mc:Fallback>
                <p:oleObj name="think-cell Slide" r:id="rId6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PortCos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44952254-3690-5392-2D6C-9EB66B9FD08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551197108"/>
              </p:ext>
            </p:extLst>
          </p:nvPr>
        </p:nvGraphicFramePr>
        <p:xfrm>
          <a:off x="1679575" y="1519238"/>
          <a:ext cx="10260013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398587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951D76B-7F91-4DBC-98F9-68F67DA88B92}" type="datetime'''''''0''''''''''''''''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AF6E80CC-F1DC-8E29-3DEF-BBD6DC2651B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314450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3A8FF07-F15B-4EB1-A6AC-A210BB240DAC}" type="datetime'''2''0'' ''''''''''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9" name="Text Placeholder">
            <a:extLst>
              <a:ext uri="{FF2B5EF4-FFF2-40B4-BE49-F238E27FC236}">
                <a16:creationId xmlns:a16="http://schemas.microsoft.com/office/drawing/2014/main" id="{327B5EEE-91FD-5729-0BE7-006BD488141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314450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DA26E47-0233-4621-9436-D60E14503EF0}" type="datetime'''''''''''''4''''''''''''''''0'''' 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0" name="Text Placeholder">
            <a:extLst>
              <a:ext uri="{FF2B5EF4-FFF2-40B4-BE49-F238E27FC236}">
                <a16:creationId xmlns:a16="http://schemas.microsoft.com/office/drawing/2014/main" id="{4304DE9F-C1A9-49BB-5DC5-C11E8D46B87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14450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18D6046-D7BC-44DE-8B30-1C2AB63E2C3A}" type="datetime'''''''''60'' 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D7AB7C83-27F0-D947-B7D8-837C6211155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14450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6BB742A-F01C-4971-B032-586CC0CDBEC2}" type="datetime'''''''''''''''''''''''8''''''0'''''''' 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230313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E62252-F90B-4C21-9373-DB0F8AE52301}" type="datetime'''''1''''''0''''''''''''''''''0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DEAAAECA-A593-6B00-DE7F-7247D567A84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 flipV="1">
            <a:off x="2806700" y="1852614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7134225" y="23764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8575675" y="21605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230314" y="1390650"/>
            <a:ext cx="4149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PortCos, 2023 (% of PortCos)</a:t>
            </a: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7402A61B-B570-7019-0E68-66241E17479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286000" y="3627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A0B9D8-0F20-42CF-8C29-80436DC9F355}" type="datetime'''''''''1''7''''''''''''''''''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D2C679CD-D6CE-B758-3380-FA646DC2A4C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286000" y="2749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63D80B0-4C1B-4386-BB7D-7DC3CD304A88}" type="datetime'''''''''''''''''''''1''''''''''''''''''2 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E11C6382-E473-35A0-D72D-6545272B34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729038" y="32019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A314E8-235D-4640-9506-A21584DDCABE}" type="datetime'''1''9'''''''' ''''''''''''''''%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CC899797-BB39-A93C-6E40-6B75DBA5E6C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71899" y="231775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2CB9F3-7D39-4631-9ECA-22CA03A5A689}" type="datetime'''''''''''8'''''' 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54A83658-97A7-48D0-0907-E7BBC9B12E1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170488" y="36242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A4A3A6-585E-4ABD-835E-0DC3EE8A6E03}" type="datetime'''''''''''''''''''''1''''''4'''''''' ''''''''''''''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3" name="Text Placeholder">
            <a:extLst>
              <a:ext uri="{FF2B5EF4-FFF2-40B4-BE49-F238E27FC236}">
                <a16:creationId xmlns:a16="http://schemas.microsoft.com/office/drawing/2014/main" id="{885BB542-0DD4-8745-84EB-4E04B64FDA2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613525" y="32988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EE9682-8D20-4F30-8A98-23F806F06686}" type="datetime'''''''''''''''''''''''1''''''9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393BDCC7-D9BC-799F-E298-F7C065B5DA2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054975" y="34956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9ABDF2-410A-48B2-AF09-1FD25483968B}" type="datetime'''''''''''''''''''3''''3'''' ''''%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5" name="Text Placeholder">
            <a:extLst>
              <a:ext uri="{FF2B5EF4-FFF2-40B4-BE49-F238E27FC236}">
                <a16:creationId xmlns:a16="http://schemas.microsoft.com/office/drawing/2014/main" id="{FB624E68-AE37-EA5C-090C-9E8BE37B89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9498013" y="40100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90E8C91-BC3C-4ACF-959E-9117D28AB72D}" type="datetime'''1''''''4'''''''''''''' 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6" name="Text Placeholder">
            <a:extLst>
              <a:ext uri="{FF2B5EF4-FFF2-40B4-BE49-F238E27FC236}">
                <a16:creationId xmlns:a16="http://schemas.microsoft.com/office/drawing/2014/main" id="{F1EFF16D-8E8C-5695-614E-8DB82F6A38C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939463" y="38338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A41C3D-D316-4F6B-9944-843DF7BD8B56}" type="datetime'''''2''''''''5'''' 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76212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2F00503-F944-4E21-B5BE-C584985CCFB6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645025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D4D922-9049-4311-A328-0721B9505D92}" type="datetime'''''''F''''''''u''''''''''''''nd'''''' ''''''''''I''''''''I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088063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62F459-4A80-499B-A98F-B6EBD4CE9895}" type="datetime'''''''F''u''n''''d'''''''''''''' ''''''''''''I''''I''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20357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D9E6F5-A4A0-4BA6-890F-3C13954CD24C}" type="datetime'F''''''''u''''''''''''''''''n''''''''''''''''''''''d'' 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529513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C4BCC6E-A74B-491B-B340-ADD10610E7DB}" type="datetime'F''''''''''''''''un''''''''''''''''''d'''''' I''''''''V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30200" y="4854576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972550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3EB489-460A-4FE4-A9D5-37C2D8B6C15E}" type="datetime'F''u''''''n''''d'''''''''''''''''''''''''''' V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414000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0BB760-B83C-4E7C-B7DC-457F5C2EF42D}" type="datetime'''''''''F''''''''''u''nd'''''''' ''''''''V''''''''I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76212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F52F3D-E494-47BD-B8C7-020FA8BE6D9A}" type="datetime'''20'''''''''''''''' ''''''''''''''''''''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20357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7F5339-1036-4842-9138-616BBA672854}" type="datetime'''''''8 ''''''''''''''''''''''''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645025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8D1D62-43AB-4858-8B69-9398F2235D9D}" type="datetime'''''''''''''''3''''''''''''6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088063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F41138-DA36-46A8-8F70-DD1AB29A7CAC}" type="datetime'''''''''''''''''''''''''''''''6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529513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0DA605-B136-45C6-91EC-FD37CEE79BCD}" type="datetime'''0''''''''''''''''''''''''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8972550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CDED8FB-EB7D-431E-9A2D-4D17A1A4D147}" type="datetime'''''''''''''''5''''''''''''''7'''''''''' 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0414000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0E4B87F-C3AC-417A-A5CF-FE65B6079EDD}" type="datetime'''3''''''''''''''''''''''3''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213261" y="1736826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btfpBulletedList546635">
            <a:extLst>
              <a:ext uri="{FF2B5EF4-FFF2-40B4-BE49-F238E27FC236}">
                <a16:creationId xmlns:a16="http://schemas.microsoft.com/office/drawing/2014/main" id="{81C9BCF0-F1FE-1A44-DC6A-821A3F97449D}"/>
              </a:ext>
            </a:extLst>
          </p:cNvPr>
          <p:cNvSpPr/>
          <p:nvPr/>
        </p:nvSpPr>
        <p:spPr bwMode="gray">
          <a:xfrm>
            <a:off x="8954100" y="1"/>
            <a:ext cx="3237900" cy="13094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81" name="btfpRunningAgenda1Level573689">
            <a:extLst>
              <a:ext uri="{FF2B5EF4-FFF2-40B4-BE49-F238E27FC236}">
                <a16:creationId xmlns:a16="http://schemas.microsoft.com/office/drawing/2014/main" id="{D14DE32B-6BC5-D739-513C-2B445FA29F15}"/>
              </a:ext>
            </a:extLst>
          </p:cNvPr>
          <p:cNvGrpSpPr/>
          <p:nvPr>
            <p:custDataLst>
              <p:tags r:id="rId40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82" name="btfpRunningAgenda1LevelBarLeft573689">
              <a:extLst>
                <a:ext uri="{FF2B5EF4-FFF2-40B4-BE49-F238E27FC236}">
                  <a16:creationId xmlns:a16="http://schemas.microsoft.com/office/drawing/2014/main" id="{86E2E2A7-DDD6-FEA9-AEC4-F5907CFFDABF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btfpRunningAgenda1LevelTextLeft573689">
              <a:extLst>
                <a:ext uri="{FF2B5EF4-FFF2-40B4-BE49-F238E27FC236}">
                  <a16:creationId xmlns:a16="http://schemas.microsoft.com/office/drawing/2014/main" id="{2D33FF3E-52A3-914F-1BEA-AE5406BE6B8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85" name="Oval 84">
            <a:extLst>
              <a:ext uri="{FF2B5EF4-FFF2-40B4-BE49-F238E27FC236}">
                <a16:creationId xmlns:a16="http://schemas.microsoft.com/office/drawing/2014/main" id="{330C1171-211D-994E-0A1D-74AD5776EEB5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296F37E-DD5E-FD3B-575C-BE5221464CC8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30200" y="5584826"/>
            <a:ext cx="28733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1CED0DE-C844-4EA4-B6FA-A0F28C6D6D98}" type="datetime'''F''inan''c''e''d'' ''''e''''mis''si''on''''s'' (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464DF4-D8E1-3D35-2D72-7F1333BCA7D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76212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55B970-1B6E-4081-B17B-DB61DDBBE094}" type="datetime'1''''''''''''''''''''0''''''0'''''''''''''''''' 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9F8B8EF-99AA-1A4A-DF49-7859C8C551C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20357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1A9433E-43FE-41FB-A64E-4F8D5C197A23}" type="datetime'''''''''''''''''''''''1''''''''''''''''7'' 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F3F743E4-63F1-6E8D-6D6F-C247A8AEB35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645025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0B6F64-3507-40ED-B90C-931283F7C450}" type="datetime'''1''''''''''''''''9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15F340A5-0DC0-3EBB-39A1-3533116BC8E1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088063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A64D19-AC38-4B0A-AB69-825ED5C7664D}" type="datetime'''1''''''''0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C9879F9C-EA2F-AAF5-0352-96675822755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529513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E4FC2-28B5-44C8-9373-307934291C00}" type="datetime'''1''''''''''''0'' ''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60E71A4-A93D-25D8-D43D-9827E9B8858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8972550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414DFC-F9F8-45C1-A467-6947C5CF243A}" type="datetime'2''''''''''''''''''''''6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70347319-D345-9A6A-DADE-AE691F61C0AC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414000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511D01-8D41-4CD9-9010-412E028759FA}" type="datetime'''''''''''''''''''1''8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FB59B3DC-2D84-874B-08A9-EFA72D3D8662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30200" y="5219701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A594A73-A7C2-4A7C-AE7F-19892302236D}" type="datetime'In''''v''''e''sted ''''c''''ap''''''''ita''''l ''(''''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1D3796F-EC0F-8353-39D4-E2713350F03D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76212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75FDAE-E2A2-4AAE-9265-994673D5E4A0}" type="datetime'''1''''''''''0''''''0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C0594C11-EE4F-A16D-1025-78923B31B5A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20357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F0282C-E262-4AC0-B7A4-0F6301208EC4}" type="datetime'''''''''1''''''''''''''''''6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3964D3E5-0947-BECE-556C-521DFFD6855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4645025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E3D583-FF9C-4345-80CD-4610CC93BC6E}" type="datetime'''''2''''''''''''''''''''0'' 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7939598-07ED-C263-9765-1895669D4D12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088063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829A79-1F87-4F77-A91A-47DA0D37C120}" type="datetime'9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18B034AA-AE1D-F4D2-B555-D00DDEBAEBB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529513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C5EE51-E8B6-47E0-9EF9-977796CA355A}" type="datetime'''''''''''''9'''''''''''''' %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26EE741A-88B7-FA3E-E81D-7B0DA13086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972550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87F-A64E-44E3-B882-D28EF861C70E}" type="datetime'''''''''''''''27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792BBDDF-7DC0-11AC-2CC2-B35CC72037B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414000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F47-DFBD-4FEE-80BF-767C2A51338D}" type="datetime'''''''''''2''2''''''''''''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0" name="btfpNotesBox885677">
            <a:extLst>
              <a:ext uri="{FF2B5EF4-FFF2-40B4-BE49-F238E27FC236}">
                <a16:creationId xmlns:a16="http://schemas.microsoft.com/office/drawing/2014/main" id="{A7B4F5F7-D36B-98E7-FB20-9E7BF61C392D}"/>
              </a:ext>
            </a:extLst>
          </p:cNvPr>
          <p:cNvSpPr txBox="1"/>
          <p:nvPr>
            <p:custDataLst>
              <p:tags r:id="rId5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6667886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3916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8" imgW="484" imgH="486" progId="TCLayout.ActiveDocument.1">
                  <p:embed/>
                </p:oleObj>
              </mc:Choice>
              <mc:Fallback>
                <p:oleObj name="think-cell Slide" r:id="rId88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PortCos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1248DA70-2162-B395-B055-50CA6590099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968959"/>
              </p:ext>
            </p:extLst>
          </p:nvPr>
        </p:nvGraphicFramePr>
        <p:xfrm>
          <a:off x="1916113" y="1519238"/>
          <a:ext cx="10023475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12925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7A337A-1C43-4E27-BFDF-B2891C2B7F72}" type="datetime'''''''''''''''''''''''''''''''''''''''''''''''''''''''''0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8929EFE-9367-568A-DBC5-7EE0AEEF2C1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728788" y="385762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F43DB5F-A831-45EE-9434-9D52B20D5B5A}" type="datetime'2''0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493A9DFD-3946-0273-B9E8-80247E0C2D5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728788" y="33162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2282027-FA8D-479E-8C5A-F7629E6ACC71}" type="datetime'''''''''4''''''''''''''''''''''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3696F543-2A50-93A5-B4BF-940AA3772F0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728788" y="27765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7B1E078-3F45-4456-A219-BE01103A98F1}" type="datetime'''60''''''''''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C66C3BD9-F44D-E6E3-1538-A02398B2829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728788" y="22352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23DBA5D-942B-45B3-BBF0-16C39CAD7770}" type="datetime'''8''''''''''''''''''''''''''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177740C8-E2FB-6A91-5AAF-A693636C34C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644650" y="1695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D28A813-E2F1-4DBE-9BD4-88FDCF69F39A}" type="datetime'''''''''''1''''''''''''0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5ACAA56-5F15-272C-16B4-1ABA97EDE23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 flipV="1">
            <a:off x="4425950" y="3948113"/>
            <a:ext cx="95250" cy="46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455CDB6-2666-BEEF-CED7-91DBB13A915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11468100" y="3732213"/>
            <a:ext cx="95250" cy="444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805B095-B8D1-BCA8-3302-ED3D7FDF924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114681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9FEA8612-48B1-A218-34D1-131104BEBBC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 flipV="1">
            <a:off x="3017838" y="1852613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2862869-7EBB-B687-D3AB-C6E598E0D20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 flipV="1">
            <a:off x="4425950" y="4176713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BC65D12-0C5B-C337-5FBA-D4DA8D03CF9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 flipV="1">
            <a:off x="4425950" y="4041774"/>
            <a:ext cx="95250" cy="134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C2C5FC8-2A45-DC0A-5A05-2FBFB246AD0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4425950" y="3811588"/>
            <a:ext cx="95250" cy="682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0A5D44D-D4D5-F75E-AEB3-BAE26FF60F1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4425950" y="3629025"/>
            <a:ext cx="95250" cy="1825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CE0DD6F-749B-E45E-CA28-2585DA8A3AD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5834063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875B6EB-D989-4660-F24B-FB8DA33E961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5834063" y="4279901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8EE3AF5-7D00-3269-AEE7-8B1BC953837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5834063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7E5A74A-7FCF-BF99-428F-2F0ECECF99A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5834063" y="3914774"/>
            <a:ext cx="95250" cy="342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63EA417-63F2-CFDF-6CF3-9A68C387E1D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5834063" y="3732213"/>
            <a:ext cx="95250" cy="471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DEDF4E1-2554-9E88-3547-5467CE72092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5834063" y="3549650"/>
            <a:ext cx="95250" cy="587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DDA91DB-A154-ED93-46E5-A2AEA13AC70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7243763" y="4370388"/>
            <a:ext cx="95250" cy="492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814CF27-120B-CE77-15F6-88A57670A1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7243763" y="4187825"/>
            <a:ext cx="95250" cy="123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C85F4AC-C0E0-5877-39AA-0C89BA5E334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7243763" y="4097338"/>
            <a:ext cx="95250" cy="1206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7243763" y="3914774"/>
            <a:ext cx="95250" cy="2349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C4CFB90-828C-AADD-4C86-C9603B76286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7243763" y="3732213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BFDC8D4-5A10-2E48-0A0A-6C091583081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7243763" y="3549650"/>
            <a:ext cx="95250" cy="519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BC17767-EC30-2FFD-4AED-B5226ACB674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8651875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4C1A40A-01AE-71FB-1DEE-4535A8C4AC3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8651875" y="4187825"/>
            <a:ext cx="95250" cy="138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651875" y="4005263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6CCD75A5-9732-F788-6234-A00D8A270E8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651875" y="3914775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F43BB8E-6B5A-E58D-6048-F1AD1626CEC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10059988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458E425A-7022-49ED-DBA5-9D69E1710FB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10059988" y="4279900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223486C-30FF-B490-E94D-03AB5560038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10059988" y="4097338"/>
            <a:ext cx="95250" cy="2682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A8B2920B-8EA8-15A0-ECBF-CE3F13848D5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 flipH="1">
            <a:off x="10059988" y="3914775"/>
            <a:ext cx="95250" cy="2222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6CEFE91-B3D9-2748-DB13-CED345385AF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 flipH="1">
            <a:off x="11468100" y="4279899"/>
            <a:ext cx="95250" cy="139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A57D799-4C40-BBAE-5F51-A1240DB439F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68100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72515A3-433F-8891-CAE3-FE1A4B64AAD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68100" y="3914775"/>
            <a:ext cx="95250" cy="3159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595563" y="3627438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942E9E-5012-4FBE-AA0D-FD3726C40932}" type="datetime'''''''''''''''1''''''''7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8" name="Text Placeholder">
            <a:extLst>
              <a:ext uri="{FF2B5EF4-FFF2-40B4-BE49-F238E27FC236}">
                <a16:creationId xmlns:a16="http://schemas.microsoft.com/office/drawing/2014/main" id="{36A5C706-B8A8-6DE8-9A72-EB992F2010E3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2595563" y="2749550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3F3216-4A4D-42CD-9DC6-BF2234D95CF2}" type="datetime'''''''''''''''''''''''''''''''''''''''''''''''''1''''2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2554288" y="1577975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EFFB88-1F9A-4AA6-93E3-4D6D04B0F3AE}" type="datetime'''''''''''1''''''''''''''''0''0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644651" y="1390650"/>
            <a:ext cx="40989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PortCos, 2023 (# of PortCos)</a:t>
            </a: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411788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1F7EA2-24A2-4128-88B9-2784634C2CCB}" type="datetime'1''''''''''''''''''''''''''4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821488" y="38481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8CBFEC-77DA-4F86-A39B-0805C22A50FC}" type="datetime'''''''''''''''''''''''''''1''''''''''''''''6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8229600" y="37941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D5EB37-A563-433B-A3A7-6CAF82301D1E}" type="datetime'''''''''''''''''''''''''''''''1''''''''''''''8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637713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286D7C-AA7A-43E8-A5E5-06A21FE79442}" type="datetime'''''''''''1''''''''''4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1045825" y="395605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E3091A-FC7C-44A6-9025-C331D6026654}" type="datetime'''''''''''''''''''''1''''2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003675" y="35766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9E4C8E-17C6-4E84-A27A-D4716EA124D9}" type="datetime'2''6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99866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7DD689-E4F3-48DC-A6B5-7321E89E1DDC}" type="datetime'''T''''''''''''''''''o''''''''''''''''ta''''''l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81488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06ACEC-D448-4EC8-9B8F-1C58138DFB8B}" type="datetime'''F''''''''''''''''''''''''''u''''n''d ''''''''''''I''I'''''">
              <a:rPr lang="en-GB" altLang="en-US" sz="1200" smtClean="0">
                <a:solidFill>
                  <a:srgbClr val="000000"/>
                </a:solidFill>
              </a:rPr>
              <a:pPr/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224589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27E008F-0C4E-4927-8CE8-C6BEBB3FD44E}" type="datetime'F''''u''''n''''''''''''''d'''''''''''''''' II''''''I'''''''">
              <a:rPr lang="en-GB" altLang="en-US" sz="1200" smtClean="0">
                <a:solidFill>
                  <a:srgbClr val="000000"/>
                </a:solidFill>
              </a:rPr>
              <a:pPr/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40836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DECA41-7647-4E2A-B568-4678C53E55E2}" type="datetime'''''''''''''''F''''''u''n''''''''''''''d'''''' ''''''I'''''''">
              <a:rPr lang="en-GB" altLang="en-US" sz="1200" smtClean="0">
                <a:solidFill>
                  <a:srgbClr val="000000"/>
                </a:solidFill>
              </a:rPr>
              <a:pPr/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63111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2B48CD-AA79-41A5-9351-117A55C0DA43}" type="datetime'F''''''''''''''''''''u''''''''''''''''n''''d'''''' ''''I''''V'">
              <a:rPr lang="en-GB" altLang="en-US" sz="1200" smtClean="0">
                <a:solidFill>
                  <a:srgbClr val="000000"/>
                </a:solidFill>
              </a:rPr>
              <a:pPr/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57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30200" y="4854576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467D079-5CAC-43D0-8203-54177E485DED}" type="datetime'''A''''li''''gn''''m''''e''nt le''''v''''e''l''''''''''''''''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04081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0AE2DE-BE2F-41ED-B870-3CA9E39C7E24}" type="datetime'''''F''''''''''''u''''n''''''''d'' ''''''''''''V'''">
              <a:rPr lang="en-GB" altLang="en-US" sz="1200" smtClean="0">
                <a:solidFill>
                  <a:srgbClr val="000000"/>
                </a:solidFill>
              </a:rPr>
              <a:pPr/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44733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1CDA4-B426-454E-9DD8-8673ECC149B5}" type="datetime'''''F''''''u''n''''''''''d'''' ''''''V''''''''I'''''''''''''''">
              <a:rPr lang="en-GB" altLang="en-US" sz="1200" smtClean="0">
                <a:solidFill>
                  <a:srgbClr val="000000"/>
                </a:solidFill>
              </a:rPr>
              <a:pPr/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99866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502A27C-2B03-4163-88AE-8BB9AA1B6C8D}" type="datetime'''''''2''0'''''' %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40836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0E32AB-52A4-41E9-85D6-67838D1D1E8E}" type="datetime'''''''''''''''''''''''''''''''''8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81488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C1532F-E301-4736-83FE-8E3ED66D130D}" type="datetime'''''''''''''''''''3''''6''''''''''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6224589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CE0D2F-9C64-4820-B135-A14E29C41A1E}" type="datetime'''''''''''''''''''6'''''' ''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3111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6594A3-BF75-48D7-9FA5-86F859AE3A49}" type="datetime'''''''''0''''''''''''''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04081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549BCA-B804-440F-8D0D-63548FC51547}" type="datetime'5''''''''''''''''7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44733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17F781-A1BA-4BC8-B6FB-E531131F490B}" type="datetime'''''''''''''3''3'' 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41700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123F49C4-9FDA-8297-7858-8B96A4B9EC4C}"/>
              </a:ext>
            </a:extLst>
          </p:cNvPr>
          <p:cNvGrpSpPr/>
          <p:nvPr>
            <p:custDataLst>
              <p:tags r:id="rId68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2" name="btfpRunningAgenda1LevelBarLeft573689">
              <a:extLst>
                <a:ext uri="{FF2B5EF4-FFF2-40B4-BE49-F238E27FC236}">
                  <a16:creationId xmlns:a16="http://schemas.microsoft.com/office/drawing/2014/main" id="{15502DAF-BFB5-1359-064F-410ECACB1C10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3" name="btfpRunningAgenda1LevelTextLeft573689">
              <a:extLst>
                <a:ext uri="{FF2B5EF4-FFF2-40B4-BE49-F238E27FC236}">
                  <a16:creationId xmlns:a16="http://schemas.microsoft.com/office/drawing/2014/main" id="{A986CDCC-42DB-2832-4A17-57520EFED496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34" name="btfpBulletedList734428">
            <a:extLst>
              <a:ext uri="{FF2B5EF4-FFF2-40B4-BE49-F238E27FC236}">
                <a16:creationId xmlns:a16="http://schemas.microsoft.com/office/drawing/2014/main" id="{91DCD357-66B2-7F05-BE5C-B3733F3C0AA4}"/>
              </a:ext>
            </a:extLst>
          </p:cNvPr>
          <p:cNvSpPr/>
          <p:nvPr/>
        </p:nvSpPr>
        <p:spPr bwMode="gray">
          <a:xfrm>
            <a:off x="8954100" y="1"/>
            <a:ext cx="3237900" cy="15425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33D62805-CE37-5BE7-E05A-01CE55FDFEFA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A434C93B-7B68-1D4E-EDD8-AEF9B7BB17A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30200" y="5219701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128503F-4610-4E8D-9224-6DD6E06DC05C}" type="datetime'''Inve''s''ted ''''ca''''''''pital'' ''(''$''''b''''''''''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32D3338A-E4B0-EBC9-F826-4BB1F44A3D0A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99866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6727CE-84CF-4135-979E-6CBD0B956D16}" type="datetime'''''''''''''''''''''''9''.''''0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FFA0BA3-D196-488C-69A2-D27D6FDA674E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40836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3D3931B-024B-454A-8C39-E631C1A10359}" type="datetime'1''.''''''''''''''''''''''''''''0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345FD94-1582-8C64-37AC-00C5A1430B35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481488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0906D1-5750-40C2-9954-E56DE96A042F}" type="datetime'''''2''''''''''''''''''''''.''''0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76E5A1CF-7F3D-FCF2-2F7D-0A23E7D351F1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224589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B6EEA1D-26B5-4501-8638-D617C2FE28D7}" type="datetime'''''1''''''''''''''''''''''''.''''0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587BE75E-9279-DF2F-962F-4A73C403017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63111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E62BAA4-D97A-4CA2-8DA5-D4FC54E56CC6}" type="datetime'''''''''''''''''''''''''''''''''''''1''''''''''.''''''0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BB21B0FE-79CA-A58A-D6A4-D9D5D3FB743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04081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BAAEA2-2BF9-4EEE-AA40-52EB94425A88}" type="datetime'''3''''''''''.''''''''''''''0''''''''''''''''''''''''''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3DFBF2AE-35BB-862C-5059-720945A76C55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044733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F406C12-D2F4-44DA-A428-DCCD4767E532}" type="datetime'''''''''''''2''''''''''''''''''''''.''''''0''''''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BB0DE111-9D37-3D80-E110-70B28BF2FD1B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30200" y="5584826"/>
            <a:ext cx="30781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344C8FB-F9FE-49D4-A4F5-BD7158AFAF94}" type="datetime'F''i''''''na''nce''''d ''e''mi''''ssi''on''s (''tCO2''''''e)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49FCB9AE-6759-A823-C508-07CE458D6366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99866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9DE158-0308-4A85-BF50-5F3E24A9097B}" type="datetime'''''''''''''1''''''''''''''''''''4,80''''''0''''''''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7CB732FB-91DA-58E7-1AA4-7519B6D16DF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40836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1911CDD-7352-4E54-853F-B53404A7BA93}" type="datetime'''''''''2'''''''''',''''''''''''''46''''5''''''''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BF261413-3776-8C44-C557-3B6105BAFF4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81488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2A8578-E2D5-4F69-B799-4CCDA9070708}" type="datetime'''''2'''''''''',''''''''8''''''''''''''''''''55''''''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53AC9CB1-1813-4B40-B76A-B2BF8A365C5E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224589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31ED20-0250-44A2-AE32-ED211FFFE524}" type="datetime'''1'',''4''''20''''''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05C61F2E-F127-AA39-0875-69565E3DDCB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63111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174D37C-2A13-4497-B41B-303D76E81766}" type="datetime'''''''''''''''''''''1'',''''''''''''''4''''''''''2''''''5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B97FC976-72E8-7FF1-6CC9-1CE30C0FE45C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904081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1C34C8-DAA6-4395-BBB6-5AEB4B5FCF1A}" type="datetime'3'',''''''''''8''''''7''''''''''''''''''''''''''''''''0''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CB465B2-5A55-DA3F-32AE-E29B3A4AB16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044733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AB0D44-544D-4AD1-B3AF-DA7400307BE8}" type="datetime'2'''''''''''''',''''''''6''''''''''8''''8''''''''''''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btfpNotesBox885677">
            <a:extLst>
              <a:ext uri="{FF2B5EF4-FFF2-40B4-BE49-F238E27FC236}">
                <a16:creationId xmlns:a16="http://schemas.microsoft.com/office/drawing/2014/main" id="{A3864893-E06C-6CF7-04B6-4B05926A47AB}"/>
              </a:ext>
            </a:extLst>
          </p:cNvPr>
          <p:cNvSpPr txBox="1"/>
          <p:nvPr>
            <p:custDataLst>
              <p:tags r:id="rId8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89675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908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84" imgH="486" progId="TCLayout.ActiveDocument.1">
                  <p:embed/>
                </p:oleObj>
              </mc:Choice>
              <mc:Fallback>
                <p:oleObj name="think-cell Slide" r:id="rId64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financed emissions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B5CD3FDC-5958-15DB-C471-B9A24150484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64253392"/>
              </p:ext>
            </p:extLst>
          </p:nvPr>
        </p:nvGraphicFramePr>
        <p:xfrm>
          <a:off x="1244600" y="1519238"/>
          <a:ext cx="106949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636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B0D0E54-CE92-448E-B31C-2D5B14FB12F3}" type="datetime'''''''''''0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8" name="Text Placeholder">
            <a:extLst>
              <a:ext uri="{FF2B5EF4-FFF2-40B4-BE49-F238E27FC236}">
                <a16:creationId xmlns:a16="http://schemas.microsoft.com/office/drawing/2014/main" id="{240B0806-4115-D4BA-71A8-DF061BC1680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794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B091552-E8D7-4DF2-857C-839EA4B7B27D}" type="datetime'''2''''''0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9" name="Text Placeholder">
            <a:extLst>
              <a:ext uri="{FF2B5EF4-FFF2-40B4-BE49-F238E27FC236}">
                <a16:creationId xmlns:a16="http://schemas.microsoft.com/office/drawing/2014/main" id="{007C75DE-8E55-DD45-1061-0B5953D34C8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794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DA0EBDA-276C-4E24-B9F6-16598E3C69A1}" type="datetime'''''''''''''''''''4''''0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0" name="Text Placeholder">
            <a:extLst>
              <a:ext uri="{FF2B5EF4-FFF2-40B4-BE49-F238E27FC236}">
                <a16:creationId xmlns:a16="http://schemas.microsoft.com/office/drawing/2014/main" id="{31FB6215-A5F6-4FE0-C6CE-9CBDD6411FA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794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E91633A-B999-4287-919C-F18BAC1507CC}" type="datetime'''''''''6''''''''''''''''''''0'''''''''''''' 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1" name="Text Placeholder">
            <a:extLst>
              <a:ext uri="{FF2B5EF4-FFF2-40B4-BE49-F238E27FC236}">
                <a16:creationId xmlns:a16="http://schemas.microsoft.com/office/drawing/2014/main" id="{03477EC6-F156-20F9-E52B-C40965C8DB4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794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61CBB3F-52FC-4A6A-BDDE-11152A272340}" type="datetime'8''''''''''''''0''''''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953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C1DAA7-4CA5-4FB2-846A-55E2AD2D2901}" type="datetime'''''''''''''''''''''1''''''''00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E0DB4FBD-7BA8-BC66-4003-E8D5B09E46E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420938" y="4370389"/>
            <a:ext cx="95250" cy="539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6745FD9-F779-266F-0F0C-5DADBC0D94B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429250" y="4370388"/>
            <a:ext cx="95250" cy="666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95D3AF4-6FC8-46B4-D5EF-9EC32EC61E5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429250" y="4187825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429250" y="4097339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9942513" y="4370388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11445875" y="4370388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95338" y="1390650"/>
            <a:ext cx="424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financed emissions, 2023 (%)</a:t>
            </a: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008D3AB0-118B-1A45-356A-09B3369D53D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925637" y="4160838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857AD9-48E4-4F96-B2F7-1F3915C5C59D}" type="datetime'''''''''''''''''''8''''''''''''''''''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8" name="Text Placeholder">
            <a:extLst>
              <a:ext uri="{FF2B5EF4-FFF2-40B4-BE49-F238E27FC236}">
                <a16:creationId xmlns:a16="http://schemas.microsoft.com/office/drawing/2014/main" id="{942B0107-B0D1-6921-209B-D1F49BF24C0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882775" y="36941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02AFC3-87C3-4634-84E6-E32599ABE622}" type="datetime'''''''''''''''1''''0''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9" name="Text Placeholder">
            <a:extLst>
              <a:ext uri="{FF2B5EF4-FFF2-40B4-BE49-F238E27FC236}">
                <a16:creationId xmlns:a16="http://schemas.microsoft.com/office/drawing/2014/main" id="{D10E3CF7-9983-74D8-125F-DA949B35B03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387725" y="38512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C340E0-4967-4EAA-8477-5FE5838D9F2B}" type="datetime'''''''''''''''''''''''''''15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6C5382D5-242B-FF73-F7A7-39AF3AFA0319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387725" y="3130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96B4D6E-509D-4041-950A-61698CB10C5C}" type="datetime'1''''''2'''''''''' ''''%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1" name="Text Placeholder">
            <a:extLst>
              <a:ext uri="{FF2B5EF4-FFF2-40B4-BE49-F238E27FC236}">
                <a16:creationId xmlns:a16="http://schemas.microsoft.com/office/drawing/2014/main" id="{E00E2973-D906-2021-50E0-072D65B1B8D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396038" y="3849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64E86A-F151-4B74-A8F3-D96033209E4D}" type="datetime'''''''''''''''''''''''''16'''' 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9D20B39-C47E-A537-D678-236668143A4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402388" y="3074988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D0EA3F-CA25-4336-BCE9-2FFE2F71BA5A}" type="datetime'''''''''''1''''''''''''''''''''''''''''''1'''''''' 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3" name="Text Placeholder">
            <a:extLst>
              <a:ext uri="{FF2B5EF4-FFF2-40B4-BE49-F238E27FC236}">
                <a16:creationId xmlns:a16="http://schemas.microsoft.com/office/drawing/2014/main" id="{8097E91D-90E5-DE1F-5194-84DBB4D2E42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7899400" y="37719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7DA1E0-840F-4FF7-9F92-E9ADFD4F8046}" type="datetime'3''2'''''''''''''''' ''''''''''''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4" name="Text Placeholder">
            <a:extLst>
              <a:ext uri="{FF2B5EF4-FFF2-40B4-BE49-F238E27FC236}">
                <a16:creationId xmlns:a16="http://schemas.microsoft.com/office/drawing/2014/main" id="{06A03A36-433A-E2F5-0315-52E6675151E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905750" y="242411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2FB60A-A539-45FF-9655-2B3FF128174A}" type="datetime'1''''''''''''''''''''''1'' 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5" name="Text Placeholder">
            <a:extLst>
              <a:ext uri="{FF2B5EF4-FFF2-40B4-BE49-F238E27FC236}">
                <a16:creationId xmlns:a16="http://schemas.microsoft.com/office/drawing/2014/main" id="{6C8DFCBE-0DF3-2DB2-471E-5CF1F00509BE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9447212" y="425132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C385CF-F127-4F8B-A2D1-DB26DD67235E}" type="datetime'''''''''''''''''''''''''8 ''''''''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6" name="Text Placeholder">
            <a:extLst>
              <a:ext uri="{FF2B5EF4-FFF2-40B4-BE49-F238E27FC236}">
                <a16:creationId xmlns:a16="http://schemas.microsoft.com/office/drawing/2014/main" id="{69B966D8-8514-DBFC-9EE1-D997006C768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0907713" y="41116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4BC079-FEB1-4D0C-8219-3F9FF06DB5EE}" type="datetime'''''''''''1''''''''''''''''''''''''''''7'' 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327150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B82EF2-D12A-4533-B4C3-9388ECAF44C2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35463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3916FE-AC3E-4C77-96FA-04A3F70E5756}" type="datetime'''S''''''''''''ec''t''''''''''''o''''r'' ''''''''''''2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838825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3440F41-6F62-431C-93BE-4B182E6DD67D}" type="datetime'S''''''''''''e''''c''t''''''''''''''''''or'' ''''''''''''3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830513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C9E1A4-BE0C-493B-9F29-7B71BDC19851}" type="datetime'S''''e''ct''''''''or ''''''''''''''''1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343775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100A48-E62D-4CEC-997F-C355940AEBBD}" type="datetime'''S''''ec''''t''''''''''''''''''o''r'''' 4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64323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30200" y="4854575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884713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A9453C-DB58-4A45-84F6-09DE6AD25503}" type="datetime'''''''''''''''''''''''''''S''e''c''''''''''''t''''o''''r 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035208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418ACA-C815-47C2-9A2A-61EDBFB17BE3}" type="datetime'''''''''''S''''e''''''''c''''''''t''''or'' 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327150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D3030B-F78A-4E0C-BDD0-FBD32ACC3086}" type="datetime'''''''''''''''''5''''0'''''''' 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830513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D5E21D-8BCB-46A8-9A76-7AFDD5F46B02}" type="datetime'''''''''''''2''''''''''''4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335463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55F49E-0CD4-421B-9E1F-BFC8947F7B38}" type="datetime'''7''''''''''''''''''5''''''''''''''''''''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5838825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9E521-80BC-463B-9F2E-FCA2653EA09D}" type="datetime'''''''''''''''''''''''''''''1''''9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343775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F1AE22-9C35-4C4A-9493-08EFD6B17C43}" type="datetime'''''''''''''''0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884713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3983E0-1FCA-4C84-98C8-588278EBB832}" type="datetime'''''''''''''''''''''''7''''''''6''''''''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035208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55C918-D13D-4138-982D-D99131C835F6}" type="datetime'5''''''''''''''''''5'''''''' 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322" name="btfpBulletedList381393">
            <a:extLst>
              <a:ext uri="{FF2B5EF4-FFF2-40B4-BE49-F238E27FC236}">
                <a16:creationId xmlns:a16="http://schemas.microsoft.com/office/drawing/2014/main" id="{C93173D2-C82F-F2C2-D24E-2FADC27B9E48}"/>
              </a:ext>
            </a:extLst>
          </p:cNvPr>
          <p:cNvSpPr/>
          <p:nvPr/>
        </p:nvSpPr>
        <p:spPr bwMode="gray">
          <a:xfrm>
            <a:off x="8954100" y="1"/>
            <a:ext cx="3237900" cy="12938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325" name="btfpRunningAgenda1Level573689">
            <a:extLst>
              <a:ext uri="{FF2B5EF4-FFF2-40B4-BE49-F238E27FC236}">
                <a16:creationId xmlns:a16="http://schemas.microsoft.com/office/drawing/2014/main" id="{554CCAB4-BB26-0D9E-1827-1D08C8460065}"/>
              </a:ext>
            </a:extLst>
          </p:cNvPr>
          <p:cNvGrpSpPr/>
          <p:nvPr>
            <p:custDataLst>
              <p:tags r:id="rId44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326" name="btfpRunningAgenda1LevelBarLeft573689">
              <a:extLst>
                <a:ext uri="{FF2B5EF4-FFF2-40B4-BE49-F238E27FC236}">
                  <a16:creationId xmlns:a16="http://schemas.microsoft.com/office/drawing/2014/main" id="{BD534018-0F16-DC95-76FA-FD83529AB3A2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27" name="btfpRunningAgenda1LevelTextLeft573689">
              <a:extLst>
                <a:ext uri="{FF2B5EF4-FFF2-40B4-BE49-F238E27FC236}">
                  <a16:creationId xmlns:a16="http://schemas.microsoft.com/office/drawing/2014/main" id="{998A6783-7D77-E180-1BCB-05CFE6762887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43F8B5BB-7CBF-51F7-3CA5-E235C275D89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30200" y="5219700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04064D7-B1B8-49EA-AD42-C9F782BA4922}" type="datetime'''''''#'''' ''''of'''''' ''P''''''''''o''r''t''''C''''o''s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BEBCAFE-88FA-99E9-BF64-C6D0BE10113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327150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68D439-081F-4A1D-9EC7-5707CCB295E7}" type="datetime'''''''''''''1''0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0F04A4EA-3D34-6CD4-6E2C-077FBF9CAE8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30513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1D08E0-30F6-46B5-B49D-BCA6C653974D}" type="datetime'''''''''''''''''''''''''''''''''''''''''2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E9522832-71CD-9F9F-140A-98285BE75AE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335463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FA7D8C-1828-4863-99F7-FD1BF67C2C80}" type="datetime'''''''''''''''''''''''1''''''''''''''''''''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7757A509-3042-73BF-F5B7-FE3D3E83CFF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838825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29DB5A-B622-44D9-AB21-48588393F163}" type="datetime'''''''1''''''''''''''''''''''''6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3B3759F6-C398-46F2-E4E6-0209CFA09E9C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43775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EE96E-1CCF-45A6-8A25-51151F379489}" type="datetime'''''1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C4057B45-D1F8-D411-14D2-9F7782B80F1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84713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129477D-7341-4F5C-B3D9-AE6912EF3450}" type="datetime'''''''''''''''''1''4''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A4CD4879-394C-E6E2-0477-812023C8905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35208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B4FAFD-7DA2-4D6A-B87D-D652072F1317}" type="datetime'''''''1''''''''''''''2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7602C786-365A-D8EA-43FD-FDAA2817FB74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F6CA49E-AD05-41B1-83B4-BF65F4443012}" type="datetime'Inve''''ste''d'' ''capi''t''a''l'''' ''''(%'''''''''')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5621C8F7-420D-B5C0-5A52-ED21BEA2B99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88EE7F-04A7-48E4-9CF7-471F1F9C9DBB}" type="datetime'1''''''''''''''0''''''''''''''''0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3CDBF465-68E2-F928-32DF-1B8F52BBEB1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B5EEEA-67C1-4F8D-BDFE-F8F699DE5C2B}" type="datetime'''''''''''''''1''''''6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64C9A6D9-34A3-0929-7AFB-A63757A7E7D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EF8683-FBD8-4BC9-8ADB-EFA6F69EEFC7}" type="datetime'''''''''''''''''''''''''''''''2''0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524ECCC5-47EA-3455-2CB8-9CAEEC6CFA16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FAE7EE-017A-43B3-9520-F0F5521D134E}" type="datetime'''''''''9'' ''''''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CEA978D-3565-0662-5EC7-D31FAC1BF4D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D7C186-DBEA-4A92-91D3-3004FD5C1659}" type="datetime'''''9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33B6EFF2-ADF4-133E-09A1-7DC28A2261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4BA7AB-1D01-4ED9-91C7-BE4AF6D78B83}" type="datetime'''''''''2''''''''''''''''''''''''''''7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D3BDA36F-CD91-0D2B-484C-843A9B08F91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602F63-3712-4388-ACC8-27E462FA9911}" type="datetime'''''''''''''''''''2''''''''''''''''''''''2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2EFEF66-A7CD-2B5A-0EC1-64D1E4DAE024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54554A59-270F-A53A-045E-8365D6BD55A8}"/>
              </a:ext>
            </a:extLst>
          </p:cNvPr>
          <p:cNvSpPr txBox="1"/>
          <p:nvPr>
            <p:custDataLst>
              <p:tags r:id="rId61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878276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8043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0" imgW="484" imgH="486" progId="TCLayout.ActiveDocument.1">
                  <p:embed/>
                </p:oleObj>
              </mc:Choice>
              <mc:Fallback>
                <p:oleObj name="think-cell Slide" r:id="rId9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financed emissions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8D6AEFB0-6BCC-5C39-264F-500E0EC9CE3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53838997"/>
              </p:ext>
            </p:extLst>
          </p:nvPr>
        </p:nvGraphicFramePr>
        <p:xfrm>
          <a:off x="1244600" y="1519238"/>
          <a:ext cx="10694988" cy="335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41413" y="45196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2182539-F22E-4165-8DF3-B5E98060E69A}" type="datetime'''''''''''''''''''''''''''''''''''''''''''''''0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F10D997B-5840-0169-104D-30634ED9840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46138" y="35782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1608D6C-15B8-4C75-906F-42EFAB91FE3C}" type="datetime'''''''''5'',''''''''0''''''0''''0'''''''''''''''''''">
              <a:rPr lang="en-GB" altLang="en-US" sz="1200" smtClean="0">
                <a:solidFill>
                  <a:srgbClr val="000000"/>
                </a:solidFill>
              </a:rPr>
              <a:pPr/>
              <a:t>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4" name="Text Placeholder">
            <a:extLst>
              <a:ext uri="{FF2B5EF4-FFF2-40B4-BE49-F238E27FC236}">
                <a16:creationId xmlns:a16="http://schemas.microsoft.com/office/drawing/2014/main" id="{3299E25F-525B-2207-C28A-6973DED1F61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62000" y="263683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28D52E1-540C-48F8-9FD8-E40557EE0928}" type="datetime'''''''''''''''''''1''''0'',''0''0''''''''''''''''''''0''''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09DED4D5-6104-C4AF-FC61-CCA12D064A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62000" y="1695450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704D6AD-CC94-4BBA-BBBE-21E29284E169}" type="datetime'''15'''''''''''''''''''''''''''''',''0''''''''''''''0''0'''''">
              <a:rPr lang="en-GB" altLang="en-US" sz="1200" smtClean="0">
                <a:solidFill>
                  <a:srgbClr val="000000"/>
                </a:solidFill>
              </a:rPr>
              <a:pPr/>
              <a:t>1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9942513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3BD6246-A482-DD37-975B-49DFC8D1213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2420938" y="4492624"/>
            <a:ext cx="95250" cy="508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2D52B89-08EE-43DB-EC80-0102551BCDB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3925888" y="4492625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E7DF773-161C-7581-9639-FF39F5E94CE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9942513" y="4402138"/>
            <a:ext cx="95250" cy="168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45BED40-5199-0168-CAC9-0BF7F987134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9942513" y="4219575"/>
            <a:ext cx="95250" cy="2698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11445875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18385B2-2F32-113B-F939-AC99127D613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>
            <a:off x="11445875" y="4402137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3FCCC70-C2A8-0244-3FA5-D134451B5E0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11445875" y="4219574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42D6B96-5021-9150-9DE8-FD07E0FB5A1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11445875" y="4037013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FAB05A2-D21E-B09B-DABD-9F81D378F2F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3925888" y="4402138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544555F-1D4D-627D-466C-885F088A6DD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3925888" y="4219575"/>
            <a:ext cx="95250" cy="231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E9535BA-03DA-C0C8-2660-3F290767B07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3925888" y="4037013"/>
            <a:ext cx="95250" cy="355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1F13ECF-C82B-A8CE-9F34-F27AF2081FE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3925888" y="3854449"/>
            <a:ext cx="95250" cy="457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374E463-A034-76E2-136F-C220AADD936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3925888" y="3671888"/>
            <a:ext cx="95250" cy="530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5429250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429250" y="4402138"/>
            <a:ext cx="95250" cy="173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5429250" y="4219574"/>
            <a:ext cx="95250" cy="330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383BD7E-6F0D-BD8E-4E39-7303AEA5E77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5429250" y="4037013"/>
            <a:ext cx="95250" cy="455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855F7C5-08BC-1E1D-3453-6F8C501F6E1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6934200" y="4492625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92ABB884-FA29-198A-CD51-0C20AB4AA1A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6934200" y="4402137"/>
            <a:ext cx="95250" cy="1524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407E248-C473-7F36-EE1D-4E70C8D2B7D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6934200" y="4219574"/>
            <a:ext cx="95250" cy="2936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1DA4C49F-F51B-A291-CEA7-D90C35826D1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6934200" y="4037013"/>
            <a:ext cx="95250" cy="441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783E15E-29FF-7AFF-B12E-7A5B60EA4DD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6934200" y="3854450"/>
            <a:ext cx="95250" cy="5730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D6FB47A-C626-C123-70C9-2567A982217C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6934200" y="3671888"/>
            <a:ext cx="95250" cy="695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1E42535-AE8A-2023-8603-D156BE43A10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437563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5CE7B2FD-6CD4-8D5B-3A18-D07F0E5A9CA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437563" y="4402138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897B5872-C962-8C92-39F9-D353509FA6F6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8437563" y="4219575"/>
            <a:ext cx="95250" cy="2460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D7F13E49-DD2A-BBDF-E605-CDD8F81E0F9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8437563" y="4037013"/>
            <a:ext cx="95250" cy="3762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B9DC358-00C7-C8AF-1829-1DE4D4C5780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8437563" y="3854449"/>
            <a:ext cx="95250" cy="515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62000" y="1390650"/>
            <a:ext cx="4552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financed emissions, 2023 (tCO2e)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B46A579F-ECD1-78C8-9368-DBB86D08914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866900" y="40481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8B3C182-A02D-4843-A4F3-92C324D7337C}" type="datetime'''1'''''''',''''''''''''''''''''''''''''''2''''00'''''''''">
              <a:rPr lang="en-GB" altLang="en-US" sz="1200" smtClean="0">
                <a:solidFill>
                  <a:srgbClr val="000000"/>
                </a:solidFill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866900" y="3794125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606B5D-C6E4-471C-B9AF-273E80B2E23A}" type="datetime'''''''''1'''''''''''''''''',50''''''0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AFF5F2-705F-3A28-A8FD-0C75DBCDBF0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866900" y="33893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854258-9263-4139-A902-73C5FBA20A7E}" type="datetime'''''''2,''''''''''''8''''''''''''''''''''''''''''''''0''''0'">
              <a:rPr lang="en-GB" altLang="en-US" sz="1200" smtClean="0">
                <a:solidFill>
                  <a:srgbClr val="000000"/>
                </a:solidFill>
              </a:rPr>
              <a:pPr/>
              <a:t>2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8EF6AFB-7BE3-F1AE-0567-BD2E07055CB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866900" y="27400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FC4B22-39F9-4CDD-B25A-A97B29245B79}" type="datetime'''''''''''4,''''''''''''''10''''''0'''">
              <a:rPr lang="en-GB" altLang="en-US" sz="1200" smtClean="0">
                <a:solidFill>
                  <a:srgbClr val="FFFFFF"/>
                </a:solidFill>
              </a:rPr>
              <a:pPr/>
              <a:t>4,1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0C3AFCDD-98F8-DC01-DDB4-946C3665237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866900" y="20431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B75163-A6C1-4646-9ADE-C64655603F7E}" type="datetime'''''''''''''''''''3,3''''''''''''0''0'''''''''''''''''''">
              <a:rPr lang="en-GB" altLang="en-US" sz="1200" smtClean="0">
                <a:solidFill>
                  <a:srgbClr val="FFFFFF"/>
                </a:solidFill>
              </a:rPr>
              <a:pPr/>
              <a:t>3,3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866900" y="4273550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881ED43-B28C-4917-BA39-7C361288B15B}" type="datetime'''''''1'',''''''''''''''''''''''''2''''0''0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B593A711-6897-DCF7-2890-C003865CF9D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388475" y="41957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CD69477-75C8-4055-A701-2FD96331C6D3}" type="datetime'''''''''''1'''''''''''''''',''''''''''6''''''''''''00'''">
              <a:rPr lang="en-GB" altLang="en-US" sz="1200" smtClean="0">
                <a:solidFill>
                  <a:srgbClr val="FFFFFF"/>
                </a:solidFill>
              </a:rPr>
              <a:pPr/>
              <a:t>1,6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2AEA264-45DD-6ADD-E6AD-1469C2F2F10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875213" y="41052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8AFFDA-DBE2-4D14-8D1D-EE967AA05662}" type="datetime'''''''''1'''''',''''''''''''''''''''3''20'''''''''">
              <a:rPr lang="en-GB" altLang="en-US" sz="1200" smtClean="0">
                <a:solidFill>
                  <a:srgbClr val="FFFFFF"/>
                </a:solidFill>
              </a:rPr>
              <a:pPr/>
              <a:t>1,32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824038" y="161607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7AB030-603B-4E58-99CA-10642E2B487E}" type="datetime'1''4'',''''''''''''''''8''''0''0''''''''''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4CEC8C77-9EC5-6474-FCEB-4AB81B451E3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9388475" y="39179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0607AC6-6DAA-415A-ADFD-809AC1E85444}" type="datetime'''''''''''1'''',''''''''''''''''''''3''''''''''''''5''''0'">
              <a:rPr lang="en-GB" altLang="en-US" sz="1200" smtClean="0">
                <a:solidFill>
                  <a:srgbClr val="FFFFFF"/>
                </a:solidFill>
              </a:rPr>
              <a:pPr/>
              <a:t>1,35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875213" y="38639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B60F9C-4A98-48AE-A5CC-6C52579037CD}" type="datetime'''''''''''''''''''''2,''''''''''''''''''''''85''''''''''5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380163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C6A77B-9D4B-4D2B-BDDA-6B55F4BAFEE3}" type="datetime'''''''1'''''''''''''''',''''''''4''''2''''''''''''''''0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883525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CD107CD-3A17-47F8-8E21-380E8F0E21F0}" type="datetime'1,''''''''''''''''''4''''2''5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9388475" y="36734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94CC3BC-72AA-4643-A375-62432CD2B090}" type="datetime'''''''''3'''''''',8''''''7''''''''''''''0''''''''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0891838" y="38957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04CAD3-36F5-493B-8FE7-7C81E3DE4C14}" type="datetime'''''2,''''''''''''''''''6''''''''8''8''''''''''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371850" y="39370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FA5590C-704F-4377-A978-7C638D4EB2AB}" type="datetime'''''''''''''''2,''''''''''''''4''''6''''5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327151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BADE8A4-F567-4F56-A394-0FE12B6B55B6}" type="datetime'''''''''''''''''''To''''''''''t''''''''''''a''''''''''l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4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D86448-3902-4068-8AED-C111FDBF6559}" type="datetime'''''''''''Se''''c''''t''o''r'''''''''''''''' ''2'''''''">
              <a:rPr lang="en-GB" altLang="en-US" sz="1200" smtClean="0">
                <a:solidFill>
                  <a:srgbClr val="000000"/>
                </a:solidFill>
              </a:rPr>
              <a:pPr/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4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BC842B2-3D19-4166-BD62-50FDD48EBC97}" type="datetime'''S''''''''e''''''c''''t''''''o''''''r'' ''3'''''">
              <a:rPr lang="en-GB" altLang="en-US" sz="1200" smtClean="0">
                <a:solidFill>
                  <a:srgbClr val="000000"/>
                </a:solidFill>
              </a:rPr>
              <a:pPr/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830512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EB11D2C-30B7-44F8-A1B9-57EC6F8D5489}" type="datetime'''''''''''''''S''e''c''''t''''o''''''''''r'''''''''''''''' 1'">
              <a:rPr lang="en-GB" altLang="en-US" sz="1200" smtClean="0">
                <a:solidFill>
                  <a:srgbClr val="000000"/>
                </a:solidFill>
              </a:rPr>
              <a:pPr/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343776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2E33C7-74B7-45AA-9DFD-0650E523419D}" type="datetime'''Sec''''''''''''''''to''''''''''''r'''' ''''''4'''''''''''">
              <a:rPr lang="en-GB" altLang="en-US" sz="1200" smtClean="0">
                <a:solidFill>
                  <a:srgbClr val="000000"/>
                </a:solidFill>
              </a:rPr>
              <a:pPr/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330201" y="4975225"/>
            <a:ext cx="250031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D30254C-DC87-4E50-ACD4-F2E297971324}" type="datetime'A''''li''''''''''''g''''nmen''t'''''''''''''''' ''l''''eve''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847137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119428-0D41-42EC-A18B-B7D6C25382AE}" type="datetime'''S''''e''''''''c''''''''''''''tor ''''''''''''''''5'''''">
              <a:rPr lang="en-GB" altLang="en-US" sz="1200" smtClean="0">
                <a:solidFill>
                  <a:srgbClr val="000000"/>
                </a:solidFill>
              </a:rPr>
              <a:pPr/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52088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DAB762-3030-4507-88BE-B3B271ACBF7F}" type="datetime'''''''''S''''''e''''''''''''''''c''''''t''''o''r'''''''' ''6'">
              <a:rPr lang="en-GB" altLang="en-US" sz="1200" smtClean="0">
                <a:solidFill>
                  <a:srgbClr val="000000"/>
                </a:solidFill>
              </a:rPr>
              <a:pPr/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327151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D00C4C0-EFCA-4644-9ED7-ADB17DB94EA1}" type="datetime'''''''''5''''''''0'''''' ''''''''''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830512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682F91-2226-4651-96FE-FA3CCCD07006}" type="datetime'''''''''''''''''''''24''''''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4335464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41308C-FAEC-4C31-ABFF-D2F4031732A8}" type="datetime'''''''''''''''''7''''''5'''''''''''''' 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838824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90AF7F-83FF-472E-8D07-5DD6BF4A2D65}" type="datetime'''''''''''''1''''''''''''9'''''''''''' 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343776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BE9D71-D2E7-415D-8D0B-43D4F9D23B1D}" type="datetime'''''0'''''''''''''''''''''' 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847137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080316-E38E-4F6B-84E2-A7DBF00A79B4}" type="datetime'7''6'''' 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52088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51D46C-D2E5-497C-9483-DD2ADB7EA5C1}" type="datetime'''''''''5''''''''''''''''''''5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167" name="btfpRunningAgenda1Level573689">
            <a:extLst>
              <a:ext uri="{FF2B5EF4-FFF2-40B4-BE49-F238E27FC236}">
                <a16:creationId xmlns:a16="http://schemas.microsoft.com/office/drawing/2014/main" id="{80DB2F75-506E-867B-1D0F-6E435879BDD0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168" name="btfpRunningAgenda1LevelBarLeft573689">
              <a:extLst>
                <a:ext uri="{FF2B5EF4-FFF2-40B4-BE49-F238E27FC236}">
                  <a16:creationId xmlns:a16="http://schemas.microsoft.com/office/drawing/2014/main" id="{3D9A264A-A0AD-416A-148B-6CF89CCAC30B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69" name="btfpRunningAgenda1LevelTextLeft573689">
              <a:extLst>
                <a:ext uri="{FF2B5EF4-FFF2-40B4-BE49-F238E27FC236}">
                  <a16:creationId xmlns:a16="http://schemas.microsoft.com/office/drawing/2014/main" id="{3ED0049B-5780-792A-712C-B32CBB11C892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70" name="btfpBulletedList966686">
            <a:extLst>
              <a:ext uri="{FF2B5EF4-FFF2-40B4-BE49-F238E27FC236}">
                <a16:creationId xmlns:a16="http://schemas.microsoft.com/office/drawing/2014/main" id="{2AF44677-C672-47EF-BD21-EEBB58D79537}"/>
              </a:ext>
            </a:extLst>
          </p:cNvPr>
          <p:cNvSpPr/>
          <p:nvPr/>
        </p:nvSpPr>
        <p:spPr bwMode="gray">
          <a:xfrm>
            <a:off x="8954100" y="0"/>
            <a:ext cx="3237900" cy="155978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D57F9901-F8DD-02FC-5177-224355B31EDB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30200" y="5341938"/>
            <a:ext cx="250031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05E10B0-AAEF-49A7-8D63-58AA62429A48}" type="datetime'''#'''''' o''''f ''P''or''''t''''''C''o''''''''''''s''''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5888EA2E-8483-59B4-09E3-F03B4979FD7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C89A8B9-2F07-4500-94EA-4F057AAAC9FF}" type="datetime'In''v''''''es''ted c''''''''''''''a''''p''i''t''a''l ($b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F286EDFF-2AAD-8C90-01E9-459F4E34BF0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327150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70D40-5CD7-43FF-8FFC-4721B8A4AFDB}" type="datetime'''''''1''''''''''''''''''''''''''''00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5F43AB53-88DC-C1F2-C663-0675EC6DDACC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2830513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3141CF-97BE-477F-8831-FC0111825CBA}" type="datetime'''''''''''''''''''''''''''''''''2''6''''''''''''''''''''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4C5E7CB8-6909-57A8-9A24-B85CB99C037B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335463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A932901-BB64-437E-8E17-75039FC72996}" type="datetime'''''''''1''4''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CB7AA60D-F754-D7C3-90BD-0BB5DF100D6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838825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8A7F26-7CFC-40D6-9918-BCE37977CDAD}" type="datetime'''1''''''''''''''''''''''''''''''''''''''''6''''''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03C85492-70C3-F2C8-6127-712639BAAD73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343775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1F5A2-E138-4BDA-BAD6-8C36149B5571}" type="datetime'''''''''''''''''''''''''''''''''''1''''8''''''''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A2C22B41-B87F-BCFE-424C-C12D8065E171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84713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F12F3D-36C6-4C1F-AEF7-588B6CF6A17F}" type="datetime'''''''1''''''''4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8CD8352-97FE-178B-784E-F8B24E6552C5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1035208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CE8751F-7C24-4DB3-B130-6AFD3FF643DB}" type="datetime'''''1''''''''''''''''''''2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FB227965-B389-9CBF-ED57-36E56FF3EFB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8312C7-F627-47C0-8010-6B7464050203}" type="datetime'''''''''''9''.''''''''''0''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E8FAB797-AC33-176C-4E12-AF141E40AE1F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288100-CA6E-43EB-885B-D74967B8CCEF}" type="datetime'''''''''''''''''''''''''''''''''''''''''1''''.0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8D1CD0B4-00B4-197C-CEEB-B6374FA4E77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1CBEDB-A7A2-4846-8B59-7FDAAB733927}" type="datetime'''''''''2''.''''''''''''''''''''''''''0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E6E27C1B-46A9-DACA-8602-6ACC6FCD4958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2000724-FCE5-4311-B913-4429F1F8515F}" type="datetime'''1.''''''''''''''''''''''''''''''''''''''0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0E689FF3-4A6A-0ACE-D479-5511091F0996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56382F-0F92-4C2C-9F99-B475E54ED984}" type="datetime'''''''''''1''''.''''''''''''''''''0''''''''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82321AA3-22C5-D24A-7BC2-49C96C333ECB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BFDF62-EDA7-4182-92FD-22AA12FA8A9E}" type="datetime'''3''''''''''''''''''.''''''0''''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4473381A-57C0-ABCA-D8E6-3E49EE7738C3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77534A-B5CA-4DBF-9093-4BE85979750B}" type="datetime'2''''.0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FF8B5539-0C0D-1830-DD51-4AD8AAE6322A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AEBB4125-7B34-0C7F-4689-90CD8172499E}"/>
              </a:ext>
            </a:extLst>
          </p:cNvPr>
          <p:cNvSpPr txBox="1"/>
          <p:nvPr>
            <p:custDataLst>
              <p:tags r:id="rId8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2166823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3722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484" imgH="486" progId="TCLayout.ActiveDocument.1">
                  <p:embed/>
                </p:oleObj>
              </mc:Choice>
              <mc:Fallback>
                <p:oleObj name="think-cell Slide" r:id="rId65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invested capital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CDDFF825-D7B9-C6F8-C280-29989071C1D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94665359"/>
              </p:ext>
            </p:extLst>
          </p:nvPr>
        </p:nvGraphicFramePr>
        <p:xfrm>
          <a:off x="1574800" y="1519238"/>
          <a:ext cx="103647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2938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ABA48F8-2F5B-40B6-B8B7-F253DEF41C3B}" type="datetime'0'''''''' ''''''''''''''''''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DF6F04BA-3328-966B-1D25-C9C44AEDB3F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2096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65630C3-768B-44F9-ACDE-5883F2927E4C}" type="datetime'''''''2''''''''0''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5C21ED44-156E-7745-669A-012C2723CDC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2096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F8D81E1-E52B-4448-A166-4B1B1B83AC3D}" type="datetime'''4''''''''''''''''0'' 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83956A0F-A102-2405-62E0-DB8F40795F9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2096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1D09EF-8192-44E5-B2DC-2539DA09EBCA}" type="datetime'''''''6''0''''''''''''''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7204F606-6FC0-A213-322E-300A193270B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2096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194891B-A65A-4A20-BFAA-7A250E4F84B4}" type="datetime'''''''''''8''''''''''''''''''''0'' 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1255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7A40766-D397-4EAC-B9B9-83852AE8A2DE}" type="datetime'''1''''0''''''''''''''''''''''0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1FBDB97-8C25-B1D7-B423-D9E51706FE5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714625" y="4370389"/>
            <a:ext cx="95250" cy="60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C12D936-626E-FC21-0442-4F60563D390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629275" y="4370389"/>
            <a:ext cx="95250" cy="74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719B79A-30A7-E401-9730-35D791A11AD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629275" y="4187825"/>
            <a:ext cx="95250" cy="149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629275" y="4097339"/>
            <a:ext cx="95250" cy="1254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5629275" y="3822700"/>
            <a:ext cx="95250" cy="88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9999663" y="4370388"/>
            <a:ext cx="95250" cy="101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 flipH="1">
            <a:off x="11456988" y="4370387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125538" y="1390650"/>
            <a:ext cx="4003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invested capital, 2023 (%)</a:t>
            </a:r>
          </a:p>
        </p:txBody>
      </p:sp>
      <p:sp>
        <p:nvSpPr>
          <p:cNvPr id="253" name="Text Placeholder">
            <a:extLst>
              <a:ext uri="{FF2B5EF4-FFF2-40B4-BE49-F238E27FC236}">
                <a16:creationId xmlns:a16="http://schemas.microsoft.com/office/drawing/2014/main" id="{429DFBEB-C446-8A18-E2A4-90B2E6EE382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233612" y="418147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4F3F38A-9EF8-4C5F-B84E-A9E04881DF9E}" type="datetime'''''''''''''''''''''''''''''''''''''''''''7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4" name="Text Placeholder">
            <a:extLst>
              <a:ext uri="{FF2B5EF4-FFF2-40B4-BE49-F238E27FC236}">
                <a16:creationId xmlns:a16="http://schemas.microsoft.com/office/drawing/2014/main" id="{F3A68C9F-9245-7F87-02EF-6FDE84DB4C5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190750" y="36861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B285BCA-43FF-4892-ADC8-BE8C8BE02952}" type="datetime'''''''''''''''''''''''''''''''''''1''''''''''''4'' 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5" name="Text Placeholder">
            <a:extLst>
              <a:ext uri="{FF2B5EF4-FFF2-40B4-BE49-F238E27FC236}">
                <a16:creationId xmlns:a16="http://schemas.microsoft.com/office/drawing/2014/main" id="{446BB2BC-A47D-16EC-D45E-1F5F20340F8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648075" y="38735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4CC664-6116-4D2F-A019-1AFB0C6E4E6C}" type="datetime'''''''''''''''''''''''''''''''1''''''''''''''''''4'''' 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6" name="Text Placeholder">
            <a:extLst>
              <a:ext uri="{FF2B5EF4-FFF2-40B4-BE49-F238E27FC236}">
                <a16:creationId xmlns:a16="http://schemas.microsoft.com/office/drawing/2014/main" id="{B07989F4-6566-7CE5-5ACA-BE51EF82195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648075" y="3087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4D9672-187D-431A-9CED-9E7B7058DD43}" type="datetime'''1''''''''''''''''8'''''''''''''' ''''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B88D8B6D-5887-C99D-4FD9-FE33CD1865E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561138" y="3881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3E2BC5-ABA7-4EC6-AA9F-5BEEA16082AC}" type="datetime'''''''''1''''4'''''''' ''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CC528088-2EA0-7218-A190-8488834F22C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561138" y="30416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3221766-E7B1-4153-8D2F-B7682C0A177E}" type="datetime'''''''''''''''1''6'''' 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CB5BB3D7-9C60-1E3F-6321-DC5B826D1D8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8018463" y="38020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5BA1A5C-4EAA-4430-A361-BC679772E105}" type="datetime'''3''''''''''''''''''''''''0'''''''''''''' 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ADE64C5D-0A4B-3CF0-582C-6A580BEE8AE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8018463" y="24082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0E88EA2-4644-4A98-A936-D17F77732A13}" type="datetime'''''''''''''''''''''''''1''''''''''''6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AFA4E8E9-CE03-E7F4-E4D0-8A350AA4410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9482138" y="422116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422ECC-50FE-4152-918D-2DAEFAC96F2A}" type="datetime'''''''''''''1''''''''''''''''1 %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C971FA48-AEF4-A395-F33B-3020E7815F3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933113" y="40894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CC50E6A-3A45-4782-9EFF-DAC027145537}" type="datetime'2''''''''''''''0'''' ''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65735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3F1A95-0BB1-43A4-9615-97703251158F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57200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744FE7-9F57-4B7B-BFFC-80D802BDDF82}" type="datetime'''''''Se''''''''''''''''''''c''''t''or'' ''''''''2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029324" y="4579938"/>
            <a:ext cx="14557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F776F1-262A-45C6-BBB3-0A5A20D299D9}" type="datetime'''S''''''e''c''''to''''''''''''''''''''''''''r 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114675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E1595B-5601-4E2A-B6C6-404303889372}" type="datetime'''''S''''''''''ec''t''''''''''o''''r'''''''' ''1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48506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20AB2B-A12A-4302-B90C-8D02EF1C3B9C}" type="datetime'''''S''''''''ec''to''''r ''''4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9307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8825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94032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94032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43843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94032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66898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66898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94032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66898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94032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66898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30200" y="4854576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94032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66898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94032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66898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8942388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D2424E-0947-47B5-A532-E571B2DCB3A8}" type="datetime'''''''S''''''''''e''''''''''''''''''''''ct''''o''r'' 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39971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C9386C-EA25-40E7-9EA6-A5334C69FC5C}" type="datetime'''''''''''''''''Sec''t''''''''''''''''o''''''r'' 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65735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E88290-3683-4271-986E-4D99E37DD0E7}" type="datetime'''5''2''''''''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114675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F8A506-CCC8-4262-A464-C84B3CBFDC4E}" type="datetime'2''''''''''''4'''''''''''''''''''''''' 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57200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C4E1C9-1C78-4B67-AC33-FC33D2F5CE6E}" type="datetime'''''7''''6''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029324" y="4854576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E021DB-25A0-4585-91DE-A0337E625270}" type="datetime'''''''1''9'''''''''''''''' 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48506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4FCE36-C8B1-4999-AA61-590EB1766871}" type="datetime'''''''''0''''''''''''''''''''''''''''''''''''''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942388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E39409-98AC-42C6-A531-5A5B9F377EAB}" type="datetime'''''''7''''''''''''''''''7 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039971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68F08-E54A-4841-8242-6BA032F07534}" type="datetime'''''''''''''''''6''''''''''''''2''''''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11467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67" name="btfpBulletedList606704">
            <a:extLst>
              <a:ext uri="{FF2B5EF4-FFF2-40B4-BE49-F238E27FC236}">
                <a16:creationId xmlns:a16="http://schemas.microsoft.com/office/drawing/2014/main" id="{26D697C6-468D-7EB1-A68A-B87DE084BCA3}"/>
              </a:ext>
            </a:extLst>
          </p:cNvPr>
          <p:cNvSpPr/>
          <p:nvPr/>
        </p:nvSpPr>
        <p:spPr bwMode="gray">
          <a:xfrm>
            <a:off x="8954100" y="0"/>
            <a:ext cx="3237900" cy="14566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171" name="btfpRunningAgenda1Level573689">
            <a:extLst>
              <a:ext uri="{FF2B5EF4-FFF2-40B4-BE49-F238E27FC236}">
                <a16:creationId xmlns:a16="http://schemas.microsoft.com/office/drawing/2014/main" id="{7B37D1D5-D029-9B87-C0C2-9114B96E3ADA}"/>
              </a:ext>
            </a:extLst>
          </p:cNvPr>
          <p:cNvGrpSpPr/>
          <p:nvPr>
            <p:custDataLst>
              <p:tags r:id="rId45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172" name="btfpRunningAgenda1LevelBarLeft573689">
              <a:extLst>
                <a:ext uri="{FF2B5EF4-FFF2-40B4-BE49-F238E27FC236}">
                  <a16:creationId xmlns:a16="http://schemas.microsoft.com/office/drawing/2014/main" id="{26F22A3F-92D6-F5FD-07E8-68F0A271C42B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73" name="btfpRunningAgenda1LevelTextLeft573689">
              <a:extLst>
                <a:ext uri="{FF2B5EF4-FFF2-40B4-BE49-F238E27FC236}">
                  <a16:creationId xmlns:a16="http://schemas.microsoft.com/office/drawing/2014/main" id="{968DE291-1697-5587-FEF4-283A509AC77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D4B0D7B1-9457-1768-EB95-A5B1E81DCD3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30200" y="5219700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2260FCC-558B-4AD5-A4AA-404C415829DB}" type="datetime'''''# ''''''o''f'''' ''''''''''''P''o''r''''''t''Cos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BDDA8200-6BAD-0C60-6D05-E98865585A3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65735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BE9147-2C0A-4085-9EE9-E9EFBFBA507C}" type="datetime'''''''''''''1''''''''''0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20808BB-5A1A-D8BE-0B91-F0042130853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114675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ECA58A-7870-40C2-B70E-C880C0579962}" type="datetime'''''2''''''''''''''''''''''''''''''''''''''''''''''6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922466E4-FBA3-E956-6EF8-6E2770F89D2E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57200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8B553E-6F8C-4233-89E1-66AF0693CFE8}" type="datetime'''''1''''''''''''''''''''4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663D34FD-7701-B2AB-ABA4-2484CCD4867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6029324" y="5219700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C8FE9D-D53D-4798-928B-180BF9147975}" type="datetime'''''''''''''''''''''''1''''''6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608CD9D2-918E-9D46-7C15-841A91DDA5F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48506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2337E16-7925-457A-88DB-55F8A5881EEA}" type="datetime'''''''''''''''''''''''1''''8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35651F2-B300-77F1-B7AC-9A533463E826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942388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2472B0-EE77-44FD-BB1E-09EE4E38C144}" type="datetime'''''''''''1''''4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949ACA9D-090A-CC9F-E2D0-F23AF7F9FFF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39971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3A98FE-9EB5-46D8-8A36-C78A4215CDCF}" type="datetime'1''''''''''''2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7A86FBA-4DBE-8DD4-5D1C-984BAD53A751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330200" y="5584825"/>
            <a:ext cx="27844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C61FEAA-EE22-4A2E-83C7-9FCEE2CD76E1}" type="datetime'Fi''n''anc''''''e''d ''e''mi''ss''ion''s'''' ''''(''''''%''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3F67525-DEAF-3E56-F3EA-65CE54D38B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65735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F3D75-A77E-47BD-AF44-57D145264DC1}" type="datetime'''''''''''''''1''''''''0''''''''0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A8401822-766D-9ED3-43E4-5B6892477E49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3114675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EC70F2-8876-4F79-B7A4-B2366A88C1BF}" type="datetime'''''''''1''''''''''7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1A743EE1-4FCA-8C41-1DD6-8C6EC9CD7B6D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57200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D72BDEC-DC5B-4A99-8FDF-D4A7AB73DF2C}" type="datetime'''''''''''''1''''''''''9'''' 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82C3EC1B-E4C7-ED0C-70C1-243E168DDDE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029324" y="5584825"/>
            <a:ext cx="14557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EF20C1-E49A-4FAA-B086-65D664E79786}" type="datetime'''''''1''''''''0'''''' %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F3309BF-6695-7FA2-874A-756F9616E82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48506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C0ADBC-4993-415A-A9B2-A076D2D326FA}" type="datetime'''1''0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4703C05B-6E88-E509-6A9C-2C14789BB61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42388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DF925D-7B37-4321-B9E4-0F4C1189A56E}" type="datetime'''''2''''''''''''''''''6'''''''''''''''''' 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86168203-0D44-508C-5F61-BD0F4A36572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39971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7D957A-EC9A-4C81-8AF8-03BC88E82093}" type="datetime'''''1''''8''''''''''''''''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ABF8D0AC-91A5-ECD4-ED0F-D068409F205D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AD65A14D-ED6A-7529-521D-8720BF95BFE7}"/>
              </a:ext>
            </a:extLst>
          </p:cNvPr>
          <p:cNvSpPr txBox="1"/>
          <p:nvPr>
            <p:custDataLst>
              <p:tags r:id="rId6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72435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41075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6" imgW="484" imgH="486" progId="TCLayout.ActiveDocument.1">
                  <p:embed/>
                </p:oleObj>
              </mc:Choice>
              <mc:Fallback>
                <p:oleObj name="think-cell Slide" r:id="rId126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invested capital</a:t>
            </a:r>
          </a:p>
        </p:txBody>
      </p:sp>
      <p:graphicFrame>
        <p:nvGraphicFramePr>
          <p:cNvPr id="71" name="Chart 70">
            <a:extLst>
              <a:ext uri="{FF2B5EF4-FFF2-40B4-BE49-F238E27FC236}">
                <a16:creationId xmlns:a16="http://schemas.microsoft.com/office/drawing/2014/main" id="{1854FC3C-69FE-067A-57C7-D31ECD26121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20028070"/>
              </p:ext>
            </p:extLst>
          </p:nvPr>
        </p:nvGraphicFramePr>
        <p:xfrm>
          <a:off x="2127250" y="1703388"/>
          <a:ext cx="9812338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24063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23C02F6-3A78-495B-B583-B2E9F3788631}" type="datetime'''''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BC409BCB-B44C-1379-5CEE-EC46E6D6CD53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024063" y="38576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D6B00F0-F6C8-478F-AB76-5D2C4D58C283}" type="datetime'''''''''''''2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498229F-ED6B-EE25-BF91-AD184E957E5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24063" y="331628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604C9B1-06B3-44CF-A2CD-8B57B4815B1A}" type="datetime'''''''''''''''''''''''''''''''''''''''4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514830BE-0927-9940-020F-3E7A470DE2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24063" y="27765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252B2BC-D9A5-43EB-963A-DF70FBBF1CE6}" type="datetime'''''''6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E42E107C-BA4E-C5E4-AFD6-AC572E52A14C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24063" y="22352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2F7C4D-7972-4C64-94C3-F1C95C6F7BD2}" type="datetime'''''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DC5EA129-D2AC-6163-4197-5CC746F3BC7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939926" y="1695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31DF86-FB11-4DB4-B4D5-41461F076136}" type="datetime'''''''''''''''1''''''''''''''0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27C700F-BB08-3EBA-9C07-C964E94A319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5961063" y="3732212"/>
            <a:ext cx="95250" cy="5651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6B15C7F-5C10-8B54-034E-6DE2397473F8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3205163" y="4370387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DF09925-C3DF-3D2E-AABF-DD8F473D179F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4583113" y="3914775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BBD26DBA-B849-0E2E-7E89-DDC0E43C5A8B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>
            <a:off x="3205163" y="4187825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5961063" y="4097338"/>
            <a:ext cx="95250" cy="3397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A6C78CE-9418-C5CC-3065-ED6490D0729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4583113" y="3732213"/>
            <a:ext cx="95250" cy="485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3D105D8-87D0-8332-1127-31D595E7BAE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73406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883551C7-E90D-4032-CA3A-7779368EC98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4583113" y="3549649"/>
            <a:ext cx="95250" cy="584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19"/>
            </p:custDataLst>
          </p:nvPr>
        </p:nvCxnSpPr>
        <p:spPr bwMode="gray">
          <a:xfrm flipH="1">
            <a:off x="5961063" y="3914775"/>
            <a:ext cx="95250" cy="4635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 flipH="1">
            <a:off x="5961063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8672ECDC-7EA4-3826-8008-0130D35FC17B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4583113" y="4370388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38652FCF-8699-09A0-11AF-42DA840D6083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7340600" y="4279899"/>
            <a:ext cx="95250" cy="165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CB0398E-5EF4-4E91-A982-B34644E13A21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4583113" y="4279900"/>
            <a:ext cx="95250" cy="130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961063" y="4279900"/>
            <a:ext cx="95250" cy="1793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6B7EA51-57C1-C0C4-0DA5-F3C45BABC4C5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7340600" y="4097338"/>
            <a:ext cx="95250" cy="314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8A94B88-E138-16B6-5B99-0AF9C375E07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 flipH="1">
            <a:off x="7340600" y="3914775"/>
            <a:ext cx="95250" cy="460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1C65781A-827D-8B5D-F2B1-4F41FCD645C1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>
            <a:off x="7340600" y="3732213"/>
            <a:ext cx="95250" cy="598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E53FB82-7B3E-49CE-10FB-17A0DC074FAE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 flipH="1">
            <a:off x="7340600" y="3549650"/>
            <a:ext cx="95250" cy="735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03DE9BF7-810A-2448-614D-793A356ABCE2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8718550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6EC880E3-24A0-4A83-BCA6-B8A04A228C00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8718550" y="4279900"/>
            <a:ext cx="95250" cy="1571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4EF0A1FE-E02A-BA61-CCEA-03BB1780DC89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 flipH="1">
            <a:off x="8718550" y="4097338"/>
            <a:ext cx="95250" cy="2730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8F332EEC-3F74-8CCF-7F4E-1EF5F6231DEE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gray">
          <a:xfrm flipH="1">
            <a:off x="8718550" y="3914775"/>
            <a:ext cx="95250" cy="404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C6539FA-5C78-D0CE-9FE4-E35AF351C734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 flipH="1">
            <a:off x="8718550" y="3732213"/>
            <a:ext cx="95250" cy="549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gray">
          <a:xfrm flipH="1">
            <a:off x="1009650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909A320A-48FC-7BB5-FF38-1A36D7BFF675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gray">
          <a:xfrm flipH="1">
            <a:off x="10096500" y="4279900"/>
            <a:ext cx="95250" cy="1635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7B43649-A4ED-54BD-60DE-E369A1CA824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gray">
          <a:xfrm flipH="1">
            <a:off x="4583113" y="4097338"/>
            <a:ext cx="95250" cy="257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F8D7F866-FA10-D774-AB63-135B383771FB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 flipH="1">
            <a:off x="10096500" y="4097338"/>
            <a:ext cx="95250" cy="271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gray">
          <a:xfrm flipH="1">
            <a:off x="1147445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5451E49-1545-3B84-9377-420E43C054A8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 flipH="1">
            <a:off x="11474450" y="4279900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4A791D2-6591-062B-7C7A-66BE8F08760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74450" y="4097338"/>
            <a:ext cx="95250" cy="2254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0A2C80E-CF00-3819-8B49-4F1C739EA8DA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74450" y="3914775"/>
            <a:ext cx="95250" cy="292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">
            <a:extLst>
              <a:ext uri="{FF2B5EF4-FFF2-40B4-BE49-F238E27FC236}">
                <a16:creationId xmlns:a16="http://schemas.microsoft.com/office/drawing/2014/main" id="{1949CEA9-AFDA-2902-840E-24B0BA23089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05631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646A874-5B58-44A5-B74C-F49317B94BFB}" type="datetime'''''0''''''.''''''''''1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1" name="Text Placeholder">
            <a:extLst>
              <a:ext uri="{FF2B5EF4-FFF2-40B4-BE49-F238E27FC236}">
                <a16:creationId xmlns:a16="http://schemas.microsoft.com/office/drawing/2014/main" id="{7E43EBD4-3118-8BCD-FDD0-6DF7D688E3ED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05631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7D44ED9-2A3B-403B-B5E6-9EAD0D8FAEFE}" type="datetime'''''0''''''''''''''''''''''.''''''''''''''''''''''5''''''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2" name="Text Placeholder">
            <a:extLst>
              <a:ext uri="{FF2B5EF4-FFF2-40B4-BE49-F238E27FC236}">
                <a16:creationId xmlns:a16="http://schemas.microsoft.com/office/drawing/2014/main" id="{51DFFE0B-0BBB-C02D-FF17-7E78106E1952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5526088" y="40132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F7C43C-47CC-4618-832E-3F676131C2A9}" type="datetime'''''''''''0.''''''''''''''''''''''9'''''''''''''''''''''''''">
              <a:rPr lang="en-GB" altLang="en-US" sz="1200" smtClean="0">
                <a:solidFill>
                  <a:srgbClr val="FFFFFF"/>
                </a:solidFill>
              </a:rPr>
              <a:pPr/>
              <a:t>0.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83" name="Text Placeholder">
            <a:extLst>
              <a:ext uri="{FF2B5EF4-FFF2-40B4-BE49-F238E27FC236}">
                <a16:creationId xmlns:a16="http://schemas.microsoft.com/office/drawing/2014/main" id="{22BEBBA6-7DCE-FF1D-4483-B010FD892EC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74358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9C93AB2-122A-49C8-A485-B28C7EFAB47F}" type="datetime'''''''''''''''''''''0''''.''''1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4" name="Text Placeholder">
            <a:extLst>
              <a:ext uri="{FF2B5EF4-FFF2-40B4-BE49-F238E27FC236}">
                <a16:creationId xmlns:a16="http://schemas.microsoft.com/office/drawing/2014/main" id="{DF550A41-15E4-5D4E-E13D-7C6D9096B032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4358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931E143-4726-4813-9509-89CBF638EA6B}" type="datetime'''''''0''''''''''''''.''''''''''1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5" name="Text Placeholder">
            <a:extLst>
              <a:ext uri="{FF2B5EF4-FFF2-40B4-BE49-F238E27FC236}">
                <a16:creationId xmlns:a16="http://schemas.microsoft.com/office/drawing/2014/main" id="{1AAE9BD3-1DEE-84B9-7F12-222FC89B6979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4358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BA68F4A-5FCB-4CAC-ACC4-1F0E7BF13591}" type="datetime'''''''''''''''0''''.''''''''''''''''''''''1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939925" y="1390650"/>
            <a:ext cx="4037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invested capital, 2023 ($b)</a:t>
            </a:r>
          </a:p>
        </p:txBody>
      </p:sp>
      <p:sp>
        <p:nvSpPr>
          <p:cNvPr id="286" name="Text Placeholder">
            <a:extLst>
              <a:ext uri="{FF2B5EF4-FFF2-40B4-BE49-F238E27FC236}">
                <a16:creationId xmlns:a16="http://schemas.microsoft.com/office/drawing/2014/main" id="{A591D51A-27FD-0149-F3C6-3ADB4E83C336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743585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59653A7-A250-466A-81F8-81D7CAE5FDDC}" type="datetime'''''''''''''''''''''''''0''''''''''''''''.''''''''''''1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BB71EE64-E149-994A-B34B-B40D98D9F36B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33004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CF0F26E-31FE-4090-9D5F-6437D6D82EF9}" type="datetime'''''''''''''''''''''''''''0''.4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7" name="Text Placeholder">
            <a:extLst>
              <a:ext uri="{FF2B5EF4-FFF2-40B4-BE49-F238E27FC236}">
                <a16:creationId xmlns:a16="http://schemas.microsoft.com/office/drawing/2014/main" id="{EC0228A0-870A-A801-0D80-E96AD5306633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43585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F565531-C107-4975-93BE-D50C78638C9E}" type="datetime'0''''''''''''''''''.''''''2''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7999756C-83F0-ABB4-6E3A-904A7F2FFE2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3004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A42993D-8583-452D-A158-4390B28856D9}" type="datetime'''''''''''''''''''''''''0''''''''''.''''7''''''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8" name="Text Placeholder">
            <a:extLst>
              <a:ext uri="{FF2B5EF4-FFF2-40B4-BE49-F238E27FC236}">
                <a16:creationId xmlns:a16="http://schemas.microsoft.com/office/drawing/2014/main" id="{666F73E6-5E5B-670C-2F3B-8B5ABF175B7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7435850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6ECAC01-3A8B-443D-B0C1-61F8F0627C22}" type="datetime'''''''0''''''''''''''''''''''.''2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F80E2E9F-18DC-576D-4260-9C364DF70405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2770188" y="4005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1B07B0F-5AFE-4227-913D-24D09148326E}" type="datetime'0.''''''''''''''''7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9" name="Text Placeholder">
            <a:extLst>
              <a:ext uri="{FF2B5EF4-FFF2-40B4-BE49-F238E27FC236}">
                <a16:creationId xmlns:a16="http://schemas.microsoft.com/office/drawing/2014/main" id="{F12BB790-B2EE-8747-F060-E0BB9DD3B284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88138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BEB4BEA-80D0-459E-929C-AD7F343FE576}" type="datetime'''''''''''''''''''''''''0.''''''''''''''1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2770188" y="372903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6E55A0-28AD-494E-806C-3E997BD1EDA4}" type="datetime'1''''''''''''''''''''''''.''''''''''''''''''''''4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0" name="Text Placeholder">
            <a:extLst>
              <a:ext uri="{FF2B5EF4-FFF2-40B4-BE49-F238E27FC236}">
                <a16:creationId xmlns:a16="http://schemas.microsoft.com/office/drawing/2014/main" id="{BB994E76-041E-EDE0-14B1-78D9D59C399C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88138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993FC0F-CDFA-4363-8A2C-139A165B5749}" type="datetime'''''''''''''0''''''''''''.''''''3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5078C27A-FF7B-21A1-EA66-1000653A5E6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2770188" y="33639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FA33AEE-1E52-41F1-828A-2D148F751B88}" type="datetime'''''''''''''''''''''''''''1.''''''''4'''">
              <a:rPr lang="en-GB" altLang="en-US" sz="1200" smtClean="0">
                <a:solidFill>
                  <a:srgbClr val="000000"/>
                </a:solidFill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1" name="Text Placeholder">
            <a:extLst>
              <a:ext uri="{FF2B5EF4-FFF2-40B4-BE49-F238E27FC236}">
                <a16:creationId xmlns:a16="http://schemas.microsoft.com/office/drawing/2014/main" id="{115117AF-37C1-5060-2E8B-EB852AA04574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8138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DC35A67-E83F-4EB3-B2D4-0623E9C30194}" type="datetime'0''''''.''2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470337A6-8D55-D422-5C96-10BD8B589AA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2770188" y="2843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AEA7A59-70B6-40CE-B62D-3319633DA340}" type="datetime'''''''''''''''''2''.''''''''''''''''''''5'''''''''''''''">
              <a:rPr lang="en-GB" altLang="en-US" sz="1200" smtClean="0">
                <a:solidFill>
                  <a:srgbClr val="FFFFFF"/>
                </a:solidFill>
              </a:rPr>
              <a:pPr/>
              <a:t>2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2" name="Text Placeholder">
            <a:extLst>
              <a:ext uri="{FF2B5EF4-FFF2-40B4-BE49-F238E27FC236}">
                <a16:creationId xmlns:a16="http://schemas.microsoft.com/office/drawing/2014/main" id="{EA107B84-3E5D-17A6-F7E7-2207256D80C6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88138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6F5B944-244B-4451-9BBF-141A2B31559A}" type="datetime'''''''0''''''''''''''''''''''.''''''''''''''''''''''1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74C9DC8F-D45D-C4AC-A9A7-F5F287E5E077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2770188" y="2181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62F1F4-EAFB-41D8-B325-C476B12960BA}" type="datetime'''''''''''''''''2''''''''''''''''''''''.''''''4'">
              <a:rPr lang="en-GB" altLang="en-US" sz="1200" smtClean="0">
                <a:solidFill>
                  <a:srgbClr val="FFFFFF"/>
                </a:solidFill>
              </a:rPr>
              <a:pPr/>
              <a:t>2.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3" name="Text Placeholder">
            <a:extLst>
              <a:ext uri="{FF2B5EF4-FFF2-40B4-BE49-F238E27FC236}">
                <a16:creationId xmlns:a16="http://schemas.microsoft.com/office/drawing/2014/main" id="{0E6C2A96-6EAE-028E-441E-46ACA4FD7F50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881380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6C24D01-8C70-47AC-92ED-B64810CA6569}" type="datetime'''''''''''''''0''''.''''''''''''''''''2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FA045BB1-A8C5-C258-4660-657755B06919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467836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896B8E4-9BBE-494F-952E-F722F49A10EF}" type="datetime'''''''''''''''''''''''''''''''''''''''''0''''''.''''''''''2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4" name="Text Placeholder">
            <a:extLst>
              <a:ext uri="{FF2B5EF4-FFF2-40B4-BE49-F238E27FC236}">
                <a16:creationId xmlns:a16="http://schemas.microsoft.com/office/drawing/2014/main" id="{3FD39D6D-302D-59D0-2067-83C07177B064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101917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2484F2C-530E-4CAE-BFE9-CD7F5BA1910A}" type="datetime'''''''''''''''''''''''''''''''''''0.''''''''''''''''0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2" name="Text Placeholder">
            <a:extLst>
              <a:ext uri="{FF2B5EF4-FFF2-40B4-BE49-F238E27FC236}">
                <a16:creationId xmlns:a16="http://schemas.microsoft.com/office/drawing/2014/main" id="{7406C6C4-08E4-23C8-ED24-8F75AAAE44A0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467836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4FEA1F9-014F-41E1-97CA-EFB37C7A7DF3}" type="datetime'''''''0''''.''''''''''''''''''2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5" name="Text Placeholder">
            <a:extLst>
              <a:ext uri="{FF2B5EF4-FFF2-40B4-BE49-F238E27FC236}">
                <a16:creationId xmlns:a16="http://schemas.microsoft.com/office/drawing/2014/main" id="{246428C4-10CC-081A-F0C4-AAAA05E464F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101917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0862608-E828-4D49-96AE-FF650BC01E3C}" type="datetime'''''''''''''''''''''''''''''''''0''''''''''''''''.''''''''3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3" name="Text Placeholder">
            <a:extLst>
              <a:ext uri="{FF2B5EF4-FFF2-40B4-BE49-F238E27FC236}">
                <a16:creationId xmlns:a16="http://schemas.microsoft.com/office/drawing/2014/main" id="{69C8E870-5B30-C335-12A7-C4E38402F1A9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467836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6328734-80D4-4C92-BA36-61A1F717C582}" type="datetime'''''''''''''''0''''''''''''''''.''''''''''''''''''2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4" name="Text Placeholder">
            <a:extLst>
              <a:ext uri="{FF2B5EF4-FFF2-40B4-BE49-F238E27FC236}">
                <a16:creationId xmlns:a16="http://schemas.microsoft.com/office/drawing/2014/main" id="{F8A44DE7-0DD1-35DE-2329-AB72CD63CB20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467836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9073828-406F-4085-806E-199DD999874B}" type="datetime'''''''''''''''''''''''''''''''''''0''''''''''''''''.''''''3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5" name="Text Placeholder">
            <a:extLst>
              <a:ext uri="{FF2B5EF4-FFF2-40B4-BE49-F238E27FC236}">
                <a16:creationId xmlns:a16="http://schemas.microsoft.com/office/drawing/2014/main" id="{454CF9ED-C6A9-F5AF-66F6-9C60DDB4C9C7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467836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5F51863-753E-4B9A-904E-5343BD2018D6}" type="datetime'''''''''''''''''''0''''''''''.''''''3''''''''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7" name="Text Placeholder">
            <a:extLst>
              <a:ext uri="{FF2B5EF4-FFF2-40B4-BE49-F238E27FC236}">
                <a16:creationId xmlns:a16="http://schemas.microsoft.com/office/drawing/2014/main" id="{48EAC2B4-C8C6-3233-A190-8BD14F71CDD1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9661525" y="41068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40630CA-4D45-4C3B-8B25-2E6B896A32ED}" type="datetime'1.''''''''''0''''''''''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8" name="Text Placeholder">
            <a:extLst>
              <a:ext uri="{FF2B5EF4-FFF2-40B4-BE49-F238E27FC236}">
                <a16:creationId xmlns:a16="http://schemas.microsoft.com/office/drawing/2014/main" id="{7FDEDCA4-05F1-8E8C-00F9-C8992CE3859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9661525" y="3843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00F307B-7ADB-41B4-BA19-97C4C0CB0884}" type="datetime'''''''''''1''''''''''''''''''''.''''''''''''''''0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9" name="Text Placeholder">
            <a:extLst>
              <a:ext uri="{FF2B5EF4-FFF2-40B4-BE49-F238E27FC236}">
                <a16:creationId xmlns:a16="http://schemas.microsoft.com/office/drawing/2014/main" id="{B26999FE-6C05-6879-6DE8-3052271D7C87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115697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8F861F2-936D-4909-8C84-6DEE06E9C57C}" type="datetime'''''0''''''''''''''''''''.0''''''''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6" name="Text Placeholder">
            <a:extLst>
              <a:ext uri="{FF2B5EF4-FFF2-40B4-BE49-F238E27FC236}">
                <a16:creationId xmlns:a16="http://schemas.microsoft.com/office/drawing/2014/main" id="{8DA42BCB-CFF0-E549-BD93-B98D9C245CC3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4678363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70537E2-60EF-4A73-A056-ECCF1064C5F6}" type="datetime'''0.''4''''''''''''''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0" name="Text Placeholder">
            <a:extLst>
              <a:ext uri="{FF2B5EF4-FFF2-40B4-BE49-F238E27FC236}">
                <a16:creationId xmlns:a16="http://schemas.microsoft.com/office/drawing/2014/main" id="{2E71BDEB-ABA8-DA92-CB69-6CD0C06A11B7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15697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66FEC22-EC8A-4013-B895-57521E6254F7}" type="datetime'''0''''''''''''''.''''''''''''''''''''''''''''''''4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7" name="Text Placeholder">
            <a:extLst>
              <a:ext uri="{FF2B5EF4-FFF2-40B4-BE49-F238E27FC236}">
                <a16:creationId xmlns:a16="http://schemas.microsoft.com/office/drawing/2014/main" id="{92D6B702-1124-79A9-127E-854397E6153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60563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C39D76B-854F-4369-BD52-6C4CE53FB069}" type="datetime'0''.''''''''''''''1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1" name="Text Placeholder">
            <a:extLst>
              <a:ext uri="{FF2B5EF4-FFF2-40B4-BE49-F238E27FC236}">
                <a16:creationId xmlns:a16="http://schemas.microsoft.com/office/drawing/2014/main" id="{64CC8C74-08C7-0421-4F5D-E13DCFCB231C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115697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716BC0D-316D-44C0-8090-8C0C95CE8C4F}" type="datetime'''''''0''''.''''''''''''''''''4''''''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8" name="Text Placeholder">
            <a:extLst>
              <a:ext uri="{FF2B5EF4-FFF2-40B4-BE49-F238E27FC236}">
                <a16:creationId xmlns:a16="http://schemas.microsoft.com/office/drawing/2014/main" id="{9B1ED917-3A56-8CB4-FB6D-2DB3E7940892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60563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5282F5-40B6-4CA3-89F6-AAB5428CAFE1}" type="datetime'''''''''''''''''0''''''''''.''1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6" name="Text Placeholder">
            <a:extLst>
              <a:ext uri="{FF2B5EF4-FFF2-40B4-BE49-F238E27FC236}">
                <a16:creationId xmlns:a16="http://schemas.microsoft.com/office/drawing/2014/main" id="{077DAABA-E09E-2ACB-359E-EFDA838D6E9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01917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DF4A989-8E49-431F-B239-3D80D5328ACB}" type="datetime'''''''0''''''''''''''.''3''''''''''''''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9" name="Text Placeholder">
            <a:extLst>
              <a:ext uri="{FF2B5EF4-FFF2-40B4-BE49-F238E27FC236}">
                <a16:creationId xmlns:a16="http://schemas.microsoft.com/office/drawing/2014/main" id="{1E23FEFA-ED19-FA61-5337-1602E27BF5F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605631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8F03FA1-7F9E-46B3-AE89-C50DD47F60CE}" type="datetime'''''''''''''''''0''''''''''''''''''''''''''''''.1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3" name="Text Placeholder">
            <a:extLst>
              <a:ext uri="{FF2B5EF4-FFF2-40B4-BE49-F238E27FC236}">
                <a16:creationId xmlns:a16="http://schemas.microsoft.com/office/drawing/2014/main" id="{6BE8ACF6-9B0A-46AC-F733-038C172EA5A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11039475" y="39465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7780B5-F5F4-4744-B410-CBDC23268C92}" type="datetime'''''''''''''''''''''''''''0.''''''''8'''''''''">
              <a:rPr lang="en-GB" altLang="en-US" sz="1200" smtClean="0">
                <a:solidFill>
                  <a:srgbClr val="FFFFFF"/>
                </a:solidFill>
              </a:rPr>
              <a:pPr/>
              <a:t>0.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2770188" y="173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1D1984-8865-4521-92AD-8A260F5CD5B5}" type="datetime'''''''''''''''''9''''''''''''''''''.''''''''''4'''''''''''">
              <a:rPr lang="en-GB" altLang="en-US" sz="1200" smtClean="0">
                <a:solidFill>
                  <a:srgbClr val="000000"/>
                </a:solidFill>
              </a:rPr>
              <a:pPr/>
              <a:t>9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4148138" y="3878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519096-EF7C-4740-BE84-D7D5E589D690}" type="datetime'''''''''''''''''''''''''1.''''''''''5'''''''''''">
              <a:rPr lang="en-GB" altLang="en-US" sz="1200" smtClean="0">
                <a:solidFill>
                  <a:srgbClr val="000000"/>
                </a:solidFill>
              </a:rPr>
              <a:pPr/>
              <a:t>1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5526088" y="37687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68607E-86C0-47DF-96AA-CDA01ACC11AF}" type="datetime'''''1.''9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1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6905625" y="40560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3E9D817-45F5-4EF8-9B4D-C9284BAAB2EE}" type="datetime'''''''''''''''''0''''.''''''''''''''8''''''''''''''''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8283575" y="40528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72C7499-AD83-4020-99A6-8913949F6CDD}" type="datetime'''''''''''''''''''''''''''''''''''''''''''0.''''''''''''8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9661525" y="35956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A775517-A433-4C6E-A58E-9125C5A47F7E}" type="datetime'''2''''''''''''''''''''''''''''.''''''''5'''''''''''''''''">
              <a:rPr lang="en-GB" altLang="en-US" sz="1200" smtClean="0">
                <a:solidFill>
                  <a:srgbClr val="000000"/>
                </a:solidFill>
              </a:rPr>
              <a:pPr/>
              <a:t>2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11039475" y="37274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4EC697-BE11-4405-9C3A-9F9D9E6D29B6}" type="datetime'''2.''''''''''''''''''0''''''''''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2" name="Text Placeholder">
            <a:extLst>
              <a:ext uri="{FF2B5EF4-FFF2-40B4-BE49-F238E27FC236}">
                <a16:creationId xmlns:a16="http://schemas.microsoft.com/office/drawing/2014/main" id="{A7021A5F-D4EB-0BB7-EE1C-2CCE103C1F36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15697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65B24E1-6BCD-4968-B2BA-3047F8582A8B}" type="datetime'''''0''''.''''''''''''''''''''5''''''''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220980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94A444-DF4D-4DE4-9CC5-9387D7D7F442}" type="datetime'''''''''''''T''''''''''''''ot''''''''''''''''a''l''''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964113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A24F9A-20F0-4490-AD4D-316ADB308804}" type="datetime'''''''S''ect''''''''''''''or ''''''''''''''''''''''''2'''">
              <a:rPr lang="en-GB" altLang="en-US" sz="1200" smtClean="0">
                <a:solidFill>
                  <a:srgbClr val="000000"/>
                </a:solidFill>
              </a:rPr>
              <a:pPr/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634365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7DCB9ED-F4B3-45E9-85C3-98BE2185C1A3}" type="datetime'S''''e''''''''c''''''''''''t''''''o''''r'''''' 3'">
              <a:rPr lang="en-GB" altLang="en-US" sz="1200" smtClean="0">
                <a:solidFill>
                  <a:srgbClr val="000000"/>
                </a:solidFill>
              </a:rPr>
              <a:pPr/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3587750" y="4579938"/>
            <a:ext cx="1376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2E5038-096E-4631-8E04-58AFB5D34049}" type="datetime'''''Se''c''''''''to''''''''''''''r'''''' ''1'''''''''''''''''">
              <a:rPr lang="en-GB" altLang="en-US" sz="1200" smtClean="0">
                <a:solidFill>
                  <a:srgbClr val="000000"/>
                </a:solidFill>
              </a:rPr>
              <a:pPr/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721599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0CF811F-D5FE-4C02-8C9C-2C57D2BD5818}" type="datetime'''''S''e''''''''''''c''''to''r'' 4'''''''''''''''''''''">
              <a:rPr lang="en-GB" altLang="en-US" sz="1200" smtClean="0">
                <a:solidFill>
                  <a:srgbClr val="000000"/>
                </a:solidFill>
              </a:rPr>
              <a:pPr/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95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30199" y="4854575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370A6AD-1BE8-480D-A0AC-756EE619E7E6}" type="datetime'''''A''''''''''l''i''''g''nmen''''''''''t ''''le''ve''''''''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9101137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C0CC28B-45ED-4491-A007-30B1992C74F7}" type="datetime'Se''''''''''''''''c''t''''''''o''r 5'''''''''''''''''''''''''">
              <a:rPr lang="en-GB" altLang="en-US" sz="1200" smtClean="0">
                <a:solidFill>
                  <a:srgbClr val="000000"/>
                </a:solidFill>
              </a:rPr>
              <a:pPr/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10479088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6197333-90DB-4683-B3FB-9B62B2FBF72E}" type="datetime'S''''e''''''''''''''c''''''''''''t''or ''6'''''''''''">
              <a:rPr lang="en-GB" altLang="en-US" sz="1200" smtClean="0">
                <a:solidFill>
                  <a:srgbClr val="000000"/>
                </a:solidFill>
              </a:rPr>
              <a:pPr/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220980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15CCE8-4C22-46BC-8F6F-93BDC73E1AEF}" type="datetime'5''''''''''''''''''''''2'''''''' 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3587750" y="4854575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11C05D-66A6-4159-9E69-D88D1C35658E}" type="datetime'''''''''''2''''''4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4964113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901891-F5E9-451A-99A1-EDE087B99270}" type="datetime'''7''''''''''''''''''''''''''''''6'''' 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634365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917C7B-482B-4A95-AA36-602A3E8DD569}" type="datetime'''''''''''''''''1''''''''''''9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721599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2EFEDA-1C18-4D39-A0C0-363E929EF842}" type="datetime'''''''0'''''''''''''''''''''' 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9101137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984CCC-F447-470A-9A46-4ED96C5C13D7}" type="datetime'''''''''''''7''''''''''''''''''''''''7 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10479088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8BA56E-E256-4E1E-9FF5-1A186A593B10}" type="datetime'''''''''''''6''''2'''''''''''''''''''''''''''''''''''''''' 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590664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04F33FF4-F224-186B-6A2D-2A7E13454FE9}"/>
              </a:ext>
            </a:extLst>
          </p:cNvPr>
          <p:cNvGrpSpPr/>
          <p:nvPr>
            <p:custDataLst>
              <p:tags r:id="rId106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3" name="btfpRunningAgenda1LevelBarLeft573689">
              <a:extLst>
                <a:ext uri="{FF2B5EF4-FFF2-40B4-BE49-F238E27FC236}">
                  <a16:creationId xmlns:a16="http://schemas.microsoft.com/office/drawing/2014/main" id="{25F79BD5-4A90-B04E-2852-605E7030E50A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1LevelTextLeft573689">
              <a:extLst>
                <a:ext uri="{FF2B5EF4-FFF2-40B4-BE49-F238E27FC236}">
                  <a16:creationId xmlns:a16="http://schemas.microsoft.com/office/drawing/2014/main" id="{4248D941-2F99-6CE7-5E1D-9162F0EA8519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96C50777-C0C6-E7B9-AD9C-67ECB4D0C1C4}"/>
              </a:ext>
            </a:extLst>
          </p:cNvPr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330199" y="5219700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51B971E-2B19-4D2F-A010-47821E103729}" type="datetime'''''#'''''' o''''''f P''''''''o''''''''''rtCo''''s''''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81682F11-C926-82DE-644F-9CDD2AEB4288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220980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F2B078A-B992-4EB1-A9CA-B8AD65AD5968}" type="datetime'''''''''''''''''''1''''0''''''''''''''''''''''''''''''''''''0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2B2123CD-A311-0715-C728-22C69E28B45C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3587750" y="5219700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27167B-F0F5-44F7-AD28-1D634A8075A7}" type="datetime'''''''''''''''''''''''''''''''''2''''''''''''''''''''''''6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B65A932B-D7C1-171B-B4FF-C2DA240F4CA5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4964113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E6BD740-6D1C-45F5-B4E7-8D8C3F6A1C9B}" type="datetime'''''''''''''''''1''''''''4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11527160-5F56-A713-B54A-66ED2692A190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634365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AD4AE4E-CAFE-4D6B-BB4C-84209B6CDB2A}" type="datetime'''1''''''''''''''''''''''''''''''''''''''''''''''''6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FACC08F5-FA9B-6EB8-DCA2-60A9B1652865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721599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C5DCBF3-C3EB-4803-8271-83D2F5414547}" type="datetime'''''''''1''''''''''''''''''''''''8''''''''''''''''''''''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AE05833-C9C3-8E1A-BAC1-C113990126EA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9101137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43E7BE-9898-4B8E-9850-050BBAB0F353}" type="datetime'''''''''''1''''''''''''4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1101D936-C1BF-193D-7B47-A9EA1301EFC0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10479088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416B8DD-96FC-4253-A402-DB4D47130323}" type="datetime'''1''''''''''''2''''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5" name="Text Placeholder">
            <a:extLst>
              <a:ext uri="{FF2B5EF4-FFF2-40B4-BE49-F238E27FC236}">
                <a16:creationId xmlns:a16="http://schemas.microsoft.com/office/drawing/2014/main" id="{05D3E4CE-ED8B-85B1-98C7-886522724FEF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220980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7E64530-6658-4A96-8878-13F604F0FF0C}" type="datetime'1''''''''''4'''''''''''''',8''''''''''''''''''0''''''''''0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6" name="Text Placeholder">
            <a:extLst>
              <a:ext uri="{FF2B5EF4-FFF2-40B4-BE49-F238E27FC236}">
                <a16:creationId xmlns:a16="http://schemas.microsoft.com/office/drawing/2014/main" id="{D90FD5A4-11BF-ABD3-B034-9DE12DE12354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3587750" y="5584825"/>
            <a:ext cx="1376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A2A4A6B-2AE0-4557-80EE-651A075BF48A}" type="datetime'''''''''2'',''''''''''''''''''''4''''''''6''5''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45E942EC-2626-A93A-318B-6F91232DA58A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4964113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D6F6B2-8C57-489C-9177-9BD4D71E441F}" type="datetime'2'''''''''''''''''',''''''''''8''''''''''''''5''''''''''''5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97BD15B7-6228-9688-7C82-35E87E140FF9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634365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256E95C-FE13-42BC-914D-C89C5F1F7A5D}" type="datetime'''''''''1'''''''''''''''''''''''''''',4''''''''20''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9" name="Text Placeholder">
            <a:extLst>
              <a:ext uri="{FF2B5EF4-FFF2-40B4-BE49-F238E27FC236}">
                <a16:creationId xmlns:a16="http://schemas.microsoft.com/office/drawing/2014/main" id="{A47601B2-AAFF-F859-0369-52C3C6C005A6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7721599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5DBF954-1466-406B-94B7-373E77BC9127}" type="datetime'''''''''''''1'''''''''''''''''',''''''4''''25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0" name="Text Placeholder">
            <a:extLst>
              <a:ext uri="{FF2B5EF4-FFF2-40B4-BE49-F238E27FC236}">
                <a16:creationId xmlns:a16="http://schemas.microsoft.com/office/drawing/2014/main" id="{66A009AB-53F4-EF27-1227-C4349B66EC71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9101137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48F3C0A-A394-41C0-8D17-C1A6157ACDC1}" type="datetime'3,''''''''''8''''''''''''''''''''''''''''''''7''''''''''''0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1" name="Text Placeholder">
            <a:extLst>
              <a:ext uri="{FF2B5EF4-FFF2-40B4-BE49-F238E27FC236}">
                <a16:creationId xmlns:a16="http://schemas.microsoft.com/office/drawing/2014/main" id="{D0DBCCEC-DCEB-5348-AE9E-F7734F608599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10479088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99D3C7-1117-4EF4-847D-F6BDB5E817CD}" type="datetime'''''''''''''2'''''',''''6''''8''''''''8''''''''''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279E1EBD-71F5-CA4A-B540-5ADDD0836A3D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330199" y="5584825"/>
            <a:ext cx="32575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91AB741-C924-4781-9B01-00DE48A6C6CE}" type="datetime'''F''''ina''nced'' ''em''''i''''''ss''io''ns'' (''tCO2''e)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504E4F1-A2A7-0120-2864-07106BC25D00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10" name="btfpNotesBox623158">
            <a:extLst>
              <a:ext uri="{FF2B5EF4-FFF2-40B4-BE49-F238E27FC236}">
                <a16:creationId xmlns:a16="http://schemas.microsoft.com/office/drawing/2014/main" id="{25739428-CE34-200E-22DE-9D10CED38E2D}"/>
              </a:ext>
            </a:extLst>
          </p:cNvPr>
          <p:cNvSpPr txBox="1"/>
          <p:nvPr>
            <p:custDataLst>
              <p:tags r:id="rId123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btfpBulletedList606704">
            <a:extLst>
              <a:ext uri="{FF2B5EF4-FFF2-40B4-BE49-F238E27FC236}">
                <a16:creationId xmlns:a16="http://schemas.microsoft.com/office/drawing/2014/main" id="{BD7A20E5-01C8-6F7F-81C7-8E1D56FB84F2}"/>
              </a:ext>
            </a:extLst>
          </p:cNvPr>
          <p:cNvSpPr/>
          <p:nvPr/>
        </p:nvSpPr>
        <p:spPr bwMode="gray">
          <a:xfrm>
            <a:off x="8954100" y="0"/>
            <a:ext cx="3237900" cy="145341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197345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299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84" imgH="486" progId="TCLayout.ActiveDocument.1">
                  <p:embed/>
                </p:oleObj>
              </mc:Choice>
              <mc:Fallback>
                <p:oleObj name="think-cell Slide" r:id="rId6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PortCos</a:t>
            </a:r>
          </a:p>
        </p:txBody>
      </p:sp>
      <p:graphicFrame>
        <p:nvGraphicFramePr>
          <p:cNvPr id="19" name="Chart 18">
            <a:extLst>
              <a:ext uri="{FF2B5EF4-FFF2-40B4-BE49-F238E27FC236}">
                <a16:creationId xmlns:a16="http://schemas.microsoft.com/office/drawing/2014/main" id="{9E57144C-4D07-42F7-0132-B2DC4531465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28218545"/>
              </p:ext>
            </p:extLst>
          </p:nvPr>
        </p:nvGraphicFramePr>
        <p:xfrm>
          <a:off x="1679575" y="1519238"/>
          <a:ext cx="10260013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398587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951D76B-7F91-4DBC-98F9-68F67DA88B92}" type="datetime'''''''0''''''''''''''''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AF6E80CC-F1DC-8E29-3DEF-BBD6DC2651B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314450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3A8FF07-F15B-4EB1-A6AC-A210BB240DAC}" type="datetime'''2''0'' ''''''''''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9" name="Text Placeholder">
            <a:extLst>
              <a:ext uri="{FF2B5EF4-FFF2-40B4-BE49-F238E27FC236}">
                <a16:creationId xmlns:a16="http://schemas.microsoft.com/office/drawing/2014/main" id="{327B5EEE-91FD-5729-0BE7-006BD488141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314450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DA26E47-0233-4621-9436-D60E14503EF0}" type="datetime'''''''''''''4''''''''''''''''0'''' 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0" name="Text Placeholder">
            <a:extLst>
              <a:ext uri="{FF2B5EF4-FFF2-40B4-BE49-F238E27FC236}">
                <a16:creationId xmlns:a16="http://schemas.microsoft.com/office/drawing/2014/main" id="{4304DE9F-C1A9-49BB-5DC5-C11E8D46B87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14450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18D6046-D7BC-44DE-8B30-1C2AB63E2C3A}" type="datetime'''''''''60'' 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D7AB7C83-27F0-D947-B7D8-837C6211155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14450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6BB742A-F01C-4971-B032-586CC0CDBEC2}" type="datetime'''''''''''''''''''''''8''''''0'''''''' 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230313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E62252-F90B-4C21-9373-DB0F8AE52301}" type="datetime'''''1''''''0''''''''''''''''''0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DEAAAECA-A593-6B00-DE7F-7247D567A84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 flipV="1">
            <a:off x="2806700" y="1852614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7134225" y="23764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8575675" y="21605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230313" y="1390650"/>
            <a:ext cx="4268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PortCos, 2023 (% of PortCos)</a:t>
            </a: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7402A61B-B570-7019-0E68-66241E17479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286000" y="3627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A0B9D8-0F20-42CF-8C29-80436DC9F355}" type="datetime'''''''''1''7''''''''''''''''''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D2C679CD-D6CE-B758-3380-FA646DC2A4C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286000" y="2749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63D80B0-4C1B-4386-BB7D-7DC3CD304A88}" type="datetime'''''''''''''''''''''1''''''''''''''''''2 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E11C6382-E473-35A0-D72D-6545272B34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729038" y="32019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A314E8-235D-4640-9506-A21584DDCABE}" type="datetime'''1''9'''''''' ''''''''''''''''%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CC899797-BB39-A93C-6E40-6B75DBA5E6C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71899" y="231775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2CB9F3-7D39-4631-9ECA-22CA03A5A689}" type="datetime'''''''''''8'''''' 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54A83658-97A7-48D0-0907-E7BBC9B12E1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170488" y="36242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A4A3A6-585E-4ABD-835E-0DC3EE8A6E03}" type="datetime'''''''''''''''''''''1''''''4'''''''' ''''''''''''''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3" name="Text Placeholder">
            <a:extLst>
              <a:ext uri="{FF2B5EF4-FFF2-40B4-BE49-F238E27FC236}">
                <a16:creationId xmlns:a16="http://schemas.microsoft.com/office/drawing/2014/main" id="{885BB542-0DD4-8745-84EB-4E04B64FDA2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613525" y="32988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EE9682-8D20-4F30-8A98-23F806F06686}" type="datetime'''''''''''''''''''''''1''''''9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393BDCC7-D9BC-799F-E298-F7C065B5DA2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054975" y="34956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9ABDF2-410A-48B2-AF09-1FD25483968B}" type="datetime'''''''''''''''''''3''''3'''' ''''%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5" name="Text Placeholder">
            <a:extLst>
              <a:ext uri="{FF2B5EF4-FFF2-40B4-BE49-F238E27FC236}">
                <a16:creationId xmlns:a16="http://schemas.microsoft.com/office/drawing/2014/main" id="{FB624E68-AE37-EA5C-090C-9E8BE37B89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9498013" y="40100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90E8C91-BC3C-4ACF-959E-9117D28AB72D}" type="datetime'''1''''''4'''''''''''''' 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6" name="Text Placeholder">
            <a:extLst>
              <a:ext uri="{FF2B5EF4-FFF2-40B4-BE49-F238E27FC236}">
                <a16:creationId xmlns:a16="http://schemas.microsoft.com/office/drawing/2014/main" id="{F1EFF16D-8E8C-5695-614E-8DB82F6A38C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939463" y="38338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A41C3D-D316-4F6B-9944-843DF7BD8B56}" type="datetime'''''2''''''''5'''' 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76212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6F9C2BA-0CA0-48CA-8566-EB4241C8BDBF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645025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0173E98-7174-4CFB-8BB9-F56E173AF71A}" type="datetime'''Se''''''''''''''''''c''''''''to''''r'''' 2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088063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93A3DC0-53ED-4AA8-8ABB-5E23FF97A17C}" type="datetime'''''''''''''''''Se''''''''''''''c''t''''''''''o''''r'''' 3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20357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879BB61-BD3E-4672-B902-BD6BD08A3B39}" type="datetime'''''''Se''''''''''''''''c''tor'''''''''''''''''''''' 1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529513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02F91D-8167-45C2-BD25-8B1DD8FC4A7C}" type="datetime'''Se''''c''''t''''''''or'''''''' ''''''4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30200" y="4854576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972550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1390B9-25DD-455B-8E6C-6DCB5847CCFC}" type="datetime'Sec''''''''''t''''o''''''''''''''''r'''''''''''''' 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414000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3B5750-A76A-4530-8F56-1FAA62808E9F}" type="datetime'''S''''''e''''''''''''''''''''''''''c''''t''or'''''''' 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76212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F52F3D-E494-47BD-B8C7-020FA8BE6D9A}" type="datetime'''20'''''''''''''''' ''''''''''''''''''''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20357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7F5339-1036-4842-9138-616BBA672854}" type="datetime'''''''8 ''''''''''''''''''''''''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645025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8D1D62-43AB-4858-8B69-9398F2235D9D}" type="datetime'''''''''''''''3''''''''''''6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088063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F41138-DA36-46A8-8F70-DD1AB29A7CAC}" type="datetime'''''''''''''''''''''''''''''''6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529513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0DA605-B136-45C6-91EC-FD37CEE79BCD}" type="datetime'''0''''''''''''''''''''''''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8972550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CDED8FB-EB7D-431E-9A2D-4D17A1A4D147}" type="datetime'''''''''''''''5''''''''''''''7'''''''''' 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0414000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0E4B87F-C3AC-417A-A5CF-FE65B6079EDD}" type="datetime'''3''''''''''''''''''''''3''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213261" y="1736826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btfpBulletedList558347">
            <a:extLst>
              <a:ext uri="{FF2B5EF4-FFF2-40B4-BE49-F238E27FC236}">
                <a16:creationId xmlns:a16="http://schemas.microsoft.com/office/drawing/2014/main" id="{81C9BCF0-F1FE-1A44-DC6A-821A3F97449D}"/>
              </a:ext>
            </a:extLst>
          </p:cNvPr>
          <p:cNvSpPr/>
          <p:nvPr/>
        </p:nvSpPr>
        <p:spPr bwMode="gray">
          <a:xfrm>
            <a:off x="8954100" y="0"/>
            <a:ext cx="3237900" cy="13417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81" name="btfpRunningAgenda1Level573689">
            <a:extLst>
              <a:ext uri="{FF2B5EF4-FFF2-40B4-BE49-F238E27FC236}">
                <a16:creationId xmlns:a16="http://schemas.microsoft.com/office/drawing/2014/main" id="{D14DE32B-6BC5-D739-513C-2B445FA29F15}"/>
              </a:ext>
            </a:extLst>
          </p:cNvPr>
          <p:cNvGrpSpPr/>
          <p:nvPr>
            <p:custDataLst>
              <p:tags r:id="rId40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82" name="btfpRunningAgenda1LevelBarLeft573689">
              <a:extLst>
                <a:ext uri="{FF2B5EF4-FFF2-40B4-BE49-F238E27FC236}">
                  <a16:creationId xmlns:a16="http://schemas.microsoft.com/office/drawing/2014/main" id="{86E2E2A7-DDD6-FEA9-AEC4-F5907CFFDABF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btfpRunningAgenda1LevelTextLeft573689">
              <a:extLst>
                <a:ext uri="{FF2B5EF4-FFF2-40B4-BE49-F238E27FC236}">
                  <a16:creationId xmlns:a16="http://schemas.microsoft.com/office/drawing/2014/main" id="{2D33FF3E-52A3-914F-1BEA-AE5406BE6B8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296F37E-DD5E-FD3B-575C-BE5221464CC8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30200" y="5584826"/>
            <a:ext cx="28733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1CED0DE-C844-4EA4-B6FA-A0F28C6D6D98}" type="datetime'''F''inan''c''e''d'' ''''e''''mis''si''on''''s'' (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464DF4-D8E1-3D35-2D72-7F1333BCA7D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76212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55B970-1B6E-4081-B17B-DB61DDBBE094}" type="datetime'1''''''''''''''''''''0''''''0'''''''''''''''''' 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9F8B8EF-99AA-1A4A-DF49-7859C8C551C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20357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1A9433E-43FE-41FB-A64E-4F8D5C197A23}" type="datetime'''''''''''''''''''''''1''''''''''''''''7'' 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F3F743E4-63F1-6E8D-6D6F-C247A8AEB35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645025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0B6F64-3507-40ED-B90C-931283F7C450}" type="datetime'''1''''''''''''''''9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15F340A5-0DC0-3EBB-39A1-3533116BC8E1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088063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A64D19-AC38-4B0A-AB69-825ED5C7664D}" type="datetime'''1''''''''0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C9879F9C-EA2F-AAF5-0352-96675822755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529513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E4FC2-28B5-44C8-9373-307934291C00}" type="datetime'''1''''''''''''0'' ''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60E71A4-A93D-25D8-D43D-9827E9B8858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8972550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414DFC-F9F8-45C1-A467-6947C5CF243A}" type="datetime'2''''''''''''''''''''''6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70347319-D345-9A6A-DADE-AE691F61C0AC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414000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511D01-8D41-4CD9-9010-412E028759FA}" type="datetime'''''''''''''''''''1''8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FB59B3DC-2D84-874B-08A9-EFA72D3D8662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30200" y="5219701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A594A73-A7C2-4A7C-AE7F-19892302236D}" type="datetime'In''''v''''e''sted ''''c''''ap''''''''ita''''l ''(''''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1D3796F-EC0F-8353-39D4-E2713350F03D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76212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75FDAE-E2A2-4AAE-9265-994673D5E4A0}" type="datetime'''1''''''''''0''''''0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C0594C11-EE4F-A16D-1025-78923B31B5A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20357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F0282C-E262-4AC0-B7A4-0F6301208EC4}" type="datetime'''''''''1''''''''''''''''''6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3964D3E5-0947-BECE-556C-521DFFD6855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4645025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E3D583-FF9C-4345-80CD-4610CC93BC6E}" type="datetime'''''2''''''''''''''''''''0'' 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7939598-07ED-C263-9765-1895669D4D12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088063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829A79-1F87-4F77-A91A-47DA0D37C120}" type="datetime'9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18B034AA-AE1D-F4D2-B555-D00DDEBAEBB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529513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C5EE51-E8B6-47E0-9EF9-977796CA355A}" type="datetime'''''''''''''9'''''''''''''' %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26EE741A-88B7-FA3E-E81D-7B0DA13086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972550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87F-A64E-44E3-B882-D28EF861C70E}" type="datetime'''''''''''''''27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792BBDDF-7DC0-11AC-2CC2-B35CC72037B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414000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F47-DFBD-4FEE-80BF-767C2A51338D}" type="datetime'''''''''''2''2''''''''''''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D52547B2-26F6-8BF6-4935-0A1113C8B31E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0" name="btfpNotesBox885677">
            <a:extLst>
              <a:ext uri="{FF2B5EF4-FFF2-40B4-BE49-F238E27FC236}">
                <a16:creationId xmlns:a16="http://schemas.microsoft.com/office/drawing/2014/main" id="{230BABBD-9FF9-36A0-21E0-568C91BC4F6D}"/>
              </a:ext>
            </a:extLst>
          </p:cNvPr>
          <p:cNvSpPr txBox="1"/>
          <p:nvPr>
            <p:custDataLst>
              <p:tags r:id="rId5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706516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btfpColumnIndicatorGroup2">
            <a:extLst>
              <a:ext uri="{FF2B5EF4-FFF2-40B4-BE49-F238E27FC236}">
                <a16:creationId xmlns:a16="http://schemas.microsoft.com/office/drawing/2014/main" id="{1FD62B06-BB40-30C8-9962-1CC1B068E51C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58" name="btfpColumnGapBlocker725738">
              <a:extLst>
                <a:ext uri="{FF2B5EF4-FFF2-40B4-BE49-F238E27FC236}">
                  <a16:creationId xmlns:a16="http://schemas.microsoft.com/office/drawing/2014/main" id="{9E54D56C-46DC-84B7-0332-BA6A438FC33C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56" name="btfpColumnGapBlocker563399">
              <a:extLst>
                <a:ext uri="{FF2B5EF4-FFF2-40B4-BE49-F238E27FC236}">
                  <a16:creationId xmlns:a16="http://schemas.microsoft.com/office/drawing/2014/main" id="{13C84BA1-1806-3808-2E2A-680F9521313B}"/>
                </a:ext>
              </a:extLst>
            </p:cNvPr>
            <p:cNvSpPr/>
            <p:nvPr/>
          </p:nvSpPr>
          <p:spPr bwMode="gray">
            <a:xfrm>
              <a:off x="5825728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54" name="btfpColumnIndicator221679">
              <a:extLst>
                <a:ext uri="{FF2B5EF4-FFF2-40B4-BE49-F238E27FC236}">
                  <a16:creationId xmlns:a16="http://schemas.microsoft.com/office/drawing/2014/main" id="{34DD7020-9618-4DFF-DCB5-DFF87D8FFEF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btfpColumnIndicator939323">
              <a:extLst>
                <a:ext uri="{FF2B5EF4-FFF2-40B4-BE49-F238E27FC236}">
                  <a16:creationId xmlns:a16="http://schemas.microsoft.com/office/drawing/2014/main" id="{9D1F6009-0DA5-9C65-9940-ACB5E2A2E33C}"/>
                </a:ext>
              </a:extLst>
            </p:cNvPr>
            <p:cNvCxnSpPr/>
            <p:nvPr/>
          </p:nvCxnSpPr>
          <p:spPr bwMode="gray">
            <a:xfrm flipV="1">
              <a:off x="636627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btfpColumnGapBlocker932707">
              <a:extLst>
                <a:ext uri="{FF2B5EF4-FFF2-40B4-BE49-F238E27FC236}">
                  <a16:creationId xmlns:a16="http://schemas.microsoft.com/office/drawing/2014/main" id="{8162085B-8A62-6FDA-9A5A-3727219DF339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8" name="btfpColumnIndicator930612">
              <a:extLst>
                <a:ext uri="{FF2B5EF4-FFF2-40B4-BE49-F238E27FC236}">
                  <a16:creationId xmlns:a16="http://schemas.microsoft.com/office/drawing/2014/main" id="{04F9CB80-C063-22C2-6AD6-2419FF07CD4E}"/>
                </a:ext>
              </a:extLst>
            </p:cNvPr>
            <p:cNvCxnSpPr/>
            <p:nvPr/>
          </p:nvCxnSpPr>
          <p:spPr bwMode="gray">
            <a:xfrm flipV="1">
              <a:off x="582572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btfpColumnIndicator831969">
              <a:extLst>
                <a:ext uri="{FF2B5EF4-FFF2-40B4-BE49-F238E27FC236}">
                  <a16:creationId xmlns:a16="http://schemas.microsoft.com/office/drawing/2014/main" id="{DEBB0865-3524-D019-3F29-410167739902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btfpColumnIndicatorGroup1">
            <a:extLst>
              <a:ext uri="{FF2B5EF4-FFF2-40B4-BE49-F238E27FC236}">
                <a16:creationId xmlns:a16="http://schemas.microsoft.com/office/drawing/2014/main" id="{AC683A9E-9C6B-3B0F-5FD6-77D11C926AB1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57" name="btfpColumnGapBlocker597783">
              <a:extLst>
                <a:ext uri="{FF2B5EF4-FFF2-40B4-BE49-F238E27FC236}">
                  <a16:creationId xmlns:a16="http://schemas.microsoft.com/office/drawing/2014/main" id="{C157F1F7-4D0D-1C36-CBCD-8899D438611F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55" name="btfpColumnGapBlocker696195">
              <a:extLst>
                <a:ext uri="{FF2B5EF4-FFF2-40B4-BE49-F238E27FC236}">
                  <a16:creationId xmlns:a16="http://schemas.microsoft.com/office/drawing/2014/main" id="{CC43BCB1-FF0A-C309-8748-4EC0660065E6}"/>
                </a:ext>
              </a:extLst>
            </p:cNvPr>
            <p:cNvSpPr/>
            <p:nvPr/>
          </p:nvSpPr>
          <p:spPr bwMode="gray">
            <a:xfrm>
              <a:off x="5825728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53" name="btfpColumnIndicator638546">
              <a:extLst>
                <a:ext uri="{FF2B5EF4-FFF2-40B4-BE49-F238E27FC236}">
                  <a16:creationId xmlns:a16="http://schemas.microsoft.com/office/drawing/2014/main" id="{1C05E21C-B780-9488-230D-A29C9CE96219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btfpColumnIndicator433770">
              <a:extLst>
                <a:ext uri="{FF2B5EF4-FFF2-40B4-BE49-F238E27FC236}">
                  <a16:creationId xmlns:a16="http://schemas.microsoft.com/office/drawing/2014/main" id="{C45952FD-8048-09E4-B849-49DB30B93C4D}"/>
                </a:ext>
              </a:extLst>
            </p:cNvPr>
            <p:cNvCxnSpPr/>
            <p:nvPr/>
          </p:nvCxnSpPr>
          <p:spPr bwMode="gray">
            <a:xfrm flipV="1">
              <a:off x="636627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btfpColumnGapBlocker687653">
              <a:extLst>
                <a:ext uri="{FF2B5EF4-FFF2-40B4-BE49-F238E27FC236}">
                  <a16:creationId xmlns:a16="http://schemas.microsoft.com/office/drawing/2014/main" id="{732F94F2-DBD5-87C6-92C0-752730571FFF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7" name="btfpColumnIndicator462530">
              <a:extLst>
                <a:ext uri="{FF2B5EF4-FFF2-40B4-BE49-F238E27FC236}">
                  <a16:creationId xmlns:a16="http://schemas.microsoft.com/office/drawing/2014/main" id="{D377C610-C146-8FD7-B9C7-4C25305545F2}"/>
                </a:ext>
              </a:extLst>
            </p:cNvPr>
            <p:cNvCxnSpPr/>
            <p:nvPr/>
          </p:nvCxnSpPr>
          <p:spPr bwMode="gray">
            <a:xfrm flipV="1">
              <a:off x="582572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btfpColumnIndicator601046">
              <a:extLst>
                <a:ext uri="{FF2B5EF4-FFF2-40B4-BE49-F238E27FC236}">
                  <a16:creationId xmlns:a16="http://schemas.microsoft.com/office/drawing/2014/main" id="{B058C27D-8177-1188-BCD9-64397E3ED8C1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6B250CE3-ED56-CA41-B891-552A0A5AA71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12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606" imgH="608" progId="TCLayout.ActiveDocument.1">
                  <p:embed/>
                </p:oleObj>
              </mc:Choice>
              <mc:Fallback>
                <p:oleObj name="think-cell Slide" r:id="rId9" imgW="606" imgH="608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B250CE3-ED56-CA41-B891-552A0A5AA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3CD23EA-3262-162D-71F6-C6AE1E9474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b="1" dirty="0"/>
              <a:t>Templates |</a:t>
            </a:r>
            <a:r>
              <a:rPr lang="en-GB" dirty="0"/>
              <a:t> Overview</a:t>
            </a:r>
          </a:p>
        </p:txBody>
      </p:sp>
      <p:grpSp>
        <p:nvGrpSpPr>
          <p:cNvPr id="31" name="btfpColumnHeaderBox153606">
            <a:extLst>
              <a:ext uri="{FF2B5EF4-FFF2-40B4-BE49-F238E27FC236}">
                <a16:creationId xmlns:a16="http://schemas.microsoft.com/office/drawing/2014/main" id="{A0D566C4-2BAC-9337-02FA-4E4886A0484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6366272" y="1270000"/>
            <a:ext cx="5495528" cy="318997"/>
            <a:chOff x="6366272" y="1270000"/>
            <a:chExt cx="5495528" cy="318997"/>
          </a:xfrm>
        </p:grpSpPr>
        <p:sp>
          <p:nvSpPr>
            <p:cNvPr id="29" name="btfpColumnHeaderBoxText153606">
              <a:extLst>
                <a:ext uri="{FF2B5EF4-FFF2-40B4-BE49-F238E27FC236}">
                  <a16:creationId xmlns:a16="http://schemas.microsoft.com/office/drawing/2014/main" id="{E3D42845-7410-77AB-0242-346553775AEA}"/>
                </a:ext>
              </a:extLst>
            </p:cNvPr>
            <p:cNvSpPr txBox="1"/>
            <p:nvPr/>
          </p:nvSpPr>
          <p:spPr bwMode="gray">
            <a:xfrm>
              <a:off x="6366272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b="1" dirty="0">
                  <a:solidFill>
                    <a:srgbClr val="000000"/>
                  </a:solidFill>
                </a:rPr>
                <a:t>Available templates</a:t>
              </a:r>
              <a:r>
                <a:rPr lang="en-GB" b="1" baseline="30000" dirty="0">
                  <a:solidFill>
                    <a:srgbClr val="000000"/>
                  </a:solidFill>
                </a:rPr>
                <a:t>1</a:t>
              </a:r>
              <a:endParaRPr lang="en-GB" sz="1600" b="1" baseline="30000" dirty="0">
                <a:solidFill>
                  <a:srgbClr val="000000"/>
                </a:solidFill>
              </a:endParaRPr>
            </a:p>
          </p:txBody>
        </p:sp>
        <p:cxnSp>
          <p:nvCxnSpPr>
            <p:cNvPr id="30" name="btfpColumnHeaderBoxLine153606">
              <a:extLst>
                <a:ext uri="{FF2B5EF4-FFF2-40B4-BE49-F238E27FC236}">
                  <a16:creationId xmlns:a16="http://schemas.microsoft.com/office/drawing/2014/main" id="{55AA0FA5-6859-73DA-D6FA-4ADD02F79A3A}"/>
                </a:ext>
              </a:extLst>
            </p:cNvPr>
            <p:cNvCxnSpPr/>
            <p:nvPr/>
          </p:nvCxnSpPr>
          <p:spPr bwMode="gray">
            <a:xfrm>
              <a:off x="6366272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4" name="btfpColumnHeaderBox239428">
            <a:extLst>
              <a:ext uri="{FF2B5EF4-FFF2-40B4-BE49-F238E27FC236}">
                <a16:creationId xmlns:a16="http://schemas.microsoft.com/office/drawing/2014/main" id="{ED41643B-4C59-F75E-159D-4C2FE3E0E297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330200" y="1270000"/>
            <a:ext cx="5495528" cy="318997"/>
            <a:chOff x="330200" y="1270000"/>
            <a:chExt cx="5495528" cy="318997"/>
          </a:xfrm>
        </p:grpSpPr>
        <p:sp>
          <p:nvSpPr>
            <p:cNvPr id="32" name="btfpColumnHeaderBoxText239428">
              <a:extLst>
                <a:ext uri="{FF2B5EF4-FFF2-40B4-BE49-F238E27FC236}">
                  <a16:creationId xmlns:a16="http://schemas.microsoft.com/office/drawing/2014/main" id="{D6B337F9-5C03-7E53-3CA5-F256FFC04211}"/>
                </a:ext>
              </a:extLst>
            </p:cNvPr>
            <p:cNvSpPr txBox="1"/>
            <p:nvPr/>
          </p:nvSpPr>
          <p:spPr bwMode="gray">
            <a:xfrm>
              <a:off x="330200" y="1270000"/>
              <a:ext cx="5495528" cy="315913"/>
            </a:xfrm>
            <a:prstGeom prst="rect">
              <a:avLst/>
            </a:prstGeom>
            <a:noFill/>
          </p:spPr>
          <p:txBody>
            <a:bodyPr vert="horz" wrap="square" lIns="36036" tIns="36036" rIns="36036" bIns="36036" rtlCol="0" anchor="b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b="1" dirty="0">
                  <a:solidFill>
                    <a:srgbClr val="000000"/>
                  </a:solidFill>
                </a:rPr>
                <a:t>User guidance</a:t>
              </a:r>
              <a:endParaRPr lang="en-GB" sz="16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33" name="btfpColumnHeaderBoxLine239428">
              <a:extLst>
                <a:ext uri="{FF2B5EF4-FFF2-40B4-BE49-F238E27FC236}">
                  <a16:creationId xmlns:a16="http://schemas.microsoft.com/office/drawing/2014/main" id="{9BBFC0F8-9C33-7F51-EB0F-FC41E1571CA3}"/>
                </a:ext>
              </a:extLst>
            </p:cNvPr>
            <p:cNvCxnSpPr/>
            <p:nvPr/>
          </p:nvCxnSpPr>
          <p:spPr bwMode="gray">
            <a:xfrm>
              <a:off x="330200" y="1588997"/>
              <a:ext cx="5495528" cy="0"/>
            </a:xfrm>
            <a:prstGeom prst="line">
              <a:avLst/>
            </a:prstGeom>
            <a:ln w="9525" cap="flat">
              <a:solidFill>
                <a:srgbClr val="000000"/>
              </a:solidFill>
              <a:miter lim="800000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btfpBulletedList258927">
            <a:extLst>
              <a:ext uri="{FF2B5EF4-FFF2-40B4-BE49-F238E27FC236}">
                <a16:creationId xmlns:a16="http://schemas.microsoft.com/office/drawing/2014/main" id="{64E89FE8-DA0D-4A26-32AB-FF5868DC37CD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1715997"/>
            <a:ext cx="5495528" cy="4681657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 marL="0" indent="0">
              <a:spcBef>
                <a:spcPts val="900"/>
              </a:spcBef>
              <a:buNone/>
            </a:pPr>
            <a:r>
              <a:rPr lang="en-US" sz="1400" dirty="0"/>
              <a:t>This file contains 17 chart templates (%- and absolute figures as applicable) that can be leveraged to </a:t>
            </a:r>
            <a:r>
              <a:rPr lang="en-US" sz="1400" b="1" dirty="0" err="1"/>
              <a:t>visualise</a:t>
            </a:r>
            <a:r>
              <a:rPr lang="en-US" sz="1400" b="1" dirty="0"/>
              <a:t> outputs from the ‘PMDR Support Tool’</a:t>
            </a:r>
            <a:r>
              <a:rPr lang="en-US" sz="1400" dirty="0"/>
              <a:t>, facilitating </a:t>
            </a:r>
            <a:r>
              <a:rPr lang="en-US" sz="1400" b="1" dirty="0"/>
              <a:t>communication of key insights </a:t>
            </a:r>
            <a:r>
              <a:rPr lang="en-US" sz="1400" dirty="0"/>
              <a:t>and related takeaways internally and externally</a:t>
            </a:r>
          </a:p>
          <a:p>
            <a:pPr marL="0" indent="0">
              <a:spcBef>
                <a:spcPts val="900"/>
              </a:spcBef>
              <a:buNone/>
            </a:pPr>
            <a:endParaRPr lang="en-US" sz="1400" dirty="0"/>
          </a:p>
          <a:p>
            <a:pPr>
              <a:spcBef>
                <a:spcPts val="900"/>
              </a:spcBef>
            </a:pPr>
            <a:r>
              <a:rPr lang="en-US" sz="1400" b="1" i="1" dirty="0"/>
              <a:t>Step 0:</a:t>
            </a:r>
            <a:r>
              <a:rPr lang="en-US" sz="1400" i="1" dirty="0"/>
              <a:t> Populate ‘INPUT’ tab of ‘PMDR Support Tool’ with required fund data (financed emissions, invested capital, etc.)</a:t>
            </a:r>
          </a:p>
          <a:p>
            <a:pPr>
              <a:spcBef>
                <a:spcPts val="900"/>
              </a:spcBef>
            </a:pPr>
            <a:r>
              <a:rPr lang="en-US" sz="1400" b="1" dirty="0"/>
              <a:t>Step 1: </a:t>
            </a:r>
            <a:r>
              <a:rPr lang="en-US" sz="1400" dirty="0"/>
              <a:t>Decide what visualisations to show and adjust selectors in ‘PMDR Support Tool’ (tab ‘Data_Microsite’) accordingly </a:t>
            </a:r>
            <a:endParaRPr lang="en-US" sz="1400" b="1" dirty="0"/>
          </a:p>
          <a:p>
            <a:pPr>
              <a:spcBef>
                <a:spcPts val="900"/>
              </a:spcBef>
            </a:pPr>
            <a:r>
              <a:rPr lang="en-US" sz="1400" b="1" dirty="0"/>
              <a:t>Step 2: </a:t>
            </a:r>
            <a:r>
              <a:rPr lang="en-US" sz="1400" dirty="0"/>
              <a:t>Copy automated Excel data outputs and paste into applicable chart templates in think-cell; delete templates that are not required</a:t>
            </a:r>
          </a:p>
          <a:p>
            <a:pPr>
              <a:spcBef>
                <a:spcPts val="900"/>
              </a:spcBef>
            </a:pPr>
            <a:r>
              <a:rPr lang="en-US" sz="1400" b="1" dirty="0"/>
              <a:t>Step 3: </a:t>
            </a:r>
            <a:r>
              <a:rPr lang="en-US" sz="1400" dirty="0"/>
              <a:t>Adjust slides / text where required (e.g., update axes titles according to selected view), leveraging additional instructions posted</a:t>
            </a:r>
          </a:p>
          <a:p>
            <a:pPr marL="0" indent="0">
              <a:spcBef>
                <a:spcPts val="900"/>
              </a:spcBef>
              <a:buNone/>
            </a:pPr>
            <a:r>
              <a:rPr lang="en-US" sz="1400" i="1" dirty="0"/>
              <a:t>Please note that these visualisations are flexible, and can thus be adjusted further based on your specific needs, e.g., adding additional data rows</a:t>
            </a:r>
          </a:p>
        </p:txBody>
      </p:sp>
      <p:sp>
        <p:nvSpPr>
          <p:cNvPr id="36" name="btfpBulletedList186167">
            <a:extLst>
              <a:ext uri="{FF2B5EF4-FFF2-40B4-BE49-F238E27FC236}">
                <a16:creationId xmlns:a16="http://schemas.microsoft.com/office/drawing/2014/main" id="{1DAF4CB5-FBAF-7830-7E0C-EE74B85CB326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6366271" y="1715997"/>
            <a:ext cx="5495528" cy="4458519"/>
          </a:xfrm>
          <a:prstGeom prst="rect">
            <a:avLst/>
          </a:prstGeom>
          <a:noFill/>
        </p:spPr>
        <p:txBody>
          <a:bodyPr vert="horz" wrap="square" lIns="36000" tIns="36000" rIns="36000" bIns="36000" rtlCol="0">
            <a:spAutoFit/>
          </a:bodyPr>
          <a:lstStyle/>
          <a:p>
            <a:pPr>
              <a:spcBef>
                <a:spcPts val="600"/>
              </a:spcBef>
            </a:pPr>
            <a:r>
              <a:rPr lang="en-GB" sz="1200" b="1" dirty="0"/>
              <a:t>Portfolio alignment development </a:t>
            </a:r>
            <a:r>
              <a:rPr lang="en-GB" sz="1200" dirty="0"/>
              <a:t>[% and absolute]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financed emissions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invested capital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PortCos</a:t>
            </a:r>
          </a:p>
          <a:p>
            <a:pPr>
              <a:spcBef>
                <a:spcPts val="600"/>
              </a:spcBef>
            </a:pPr>
            <a:r>
              <a:rPr lang="en-GB" sz="1200" b="1" dirty="0"/>
              <a:t>Portfolio alignment by fund </a:t>
            </a:r>
            <a:r>
              <a:rPr lang="en-GB" sz="1200" dirty="0"/>
              <a:t>[% and absolute]</a:t>
            </a:r>
            <a:endParaRPr lang="en-GB" sz="1200" i="1" dirty="0"/>
          </a:p>
          <a:p>
            <a:pPr lvl="1">
              <a:spcBef>
                <a:spcPts val="0"/>
              </a:spcBef>
            </a:pPr>
            <a:r>
              <a:rPr lang="en-GB" sz="1000" dirty="0"/>
              <a:t>By financed emissions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invested capital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PortCos</a:t>
            </a:r>
          </a:p>
          <a:p>
            <a:pPr>
              <a:spcBef>
                <a:spcPts val="600"/>
              </a:spcBef>
            </a:pPr>
            <a:r>
              <a:rPr lang="en-GB" sz="1200" b="1" dirty="0"/>
              <a:t>Portfolio alignment by sector </a:t>
            </a:r>
            <a:r>
              <a:rPr lang="en-GB" sz="1200" dirty="0"/>
              <a:t>[% and absolute]</a:t>
            </a:r>
            <a:endParaRPr lang="en-GB" sz="1200" i="1" dirty="0"/>
          </a:p>
          <a:p>
            <a:pPr lvl="1">
              <a:spcBef>
                <a:spcPts val="0"/>
              </a:spcBef>
            </a:pPr>
            <a:r>
              <a:rPr lang="en-GB" sz="1000" dirty="0"/>
              <a:t>By financed emissions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invested capital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PortCos</a:t>
            </a:r>
          </a:p>
          <a:p>
            <a:pPr>
              <a:spcBef>
                <a:spcPts val="600"/>
              </a:spcBef>
            </a:pPr>
            <a:r>
              <a:rPr lang="en-GB" sz="1200" b="1" dirty="0"/>
              <a:t>Portfolio alignment by region </a:t>
            </a:r>
            <a:r>
              <a:rPr lang="en-GB" sz="1200" dirty="0"/>
              <a:t>[% and absolute]</a:t>
            </a:r>
            <a:endParaRPr lang="en-GB" sz="1200" i="1" dirty="0"/>
          </a:p>
          <a:p>
            <a:pPr lvl="1">
              <a:spcBef>
                <a:spcPts val="0"/>
              </a:spcBef>
            </a:pPr>
            <a:r>
              <a:rPr lang="en-GB" sz="1000" dirty="0"/>
              <a:t>By financed emissions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invested capital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PortCos</a:t>
            </a:r>
            <a:endParaRPr lang="en-US" sz="1000" b="1" dirty="0"/>
          </a:p>
          <a:p>
            <a:pPr>
              <a:spcBef>
                <a:spcPts val="600"/>
              </a:spcBef>
            </a:pPr>
            <a:r>
              <a:rPr lang="en-US" sz="1200" b="1" dirty="0"/>
              <a:t>PortCo alignment development </a:t>
            </a:r>
            <a:r>
              <a:rPr lang="en-GB" sz="1200" dirty="0"/>
              <a:t>[% and absolute]</a:t>
            </a:r>
            <a:endParaRPr lang="en-US" sz="1200" b="1" dirty="0"/>
          </a:p>
          <a:p>
            <a:pPr lvl="1">
              <a:spcBef>
                <a:spcPts val="0"/>
              </a:spcBef>
            </a:pPr>
            <a:r>
              <a:rPr lang="en-GB" sz="1000" dirty="0"/>
              <a:t>By invested capital</a:t>
            </a:r>
          </a:p>
          <a:p>
            <a:pPr lvl="1">
              <a:spcBef>
                <a:spcPts val="0"/>
              </a:spcBef>
            </a:pPr>
            <a:r>
              <a:rPr lang="en-GB" sz="1000" dirty="0"/>
              <a:t>By financed emissions</a:t>
            </a:r>
          </a:p>
          <a:p>
            <a:pPr>
              <a:spcBef>
                <a:spcPts val="600"/>
              </a:spcBef>
            </a:pPr>
            <a:r>
              <a:rPr lang="en-GB" sz="1200" b="1" dirty="0"/>
              <a:t>Portfolio progress since acquisition by PortCos </a:t>
            </a:r>
            <a:r>
              <a:rPr lang="en-GB" sz="1200" dirty="0"/>
              <a:t>[% and absolute] </a:t>
            </a:r>
          </a:p>
          <a:p>
            <a:pPr>
              <a:spcBef>
                <a:spcPts val="600"/>
              </a:spcBef>
            </a:pPr>
            <a:r>
              <a:rPr lang="en-US" sz="1200" b="1" dirty="0"/>
              <a:t>PortCo by financed emissions and Alignment Scale</a:t>
            </a:r>
          </a:p>
          <a:p>
            <a:pPr>
              <a:spcBef>
                <a:spcPts val="600"/>
              </a:spcBef>
            </a:pPr>
            <a:r>
              <a:rPr lang="en-GB" sz="1200" b="1" dirty="0"/>
              <a:t>PortCo by financed emissions, years since investment and invested capital </a:t>
            </a:r>
            <a:r>
              <a:rPr lang="en-GB" sz="1200" dirty="0"/>
              <a:t>[absolute]</a:t>
            </a: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14D9CBCB-3ADB-2D41-32E1-328DE45D6EFF}"/>
              </a:ext>
            </a:extLst>
          </p:cNvPr>
          <p:cNvSpPr/>
          <p:nvPr/>
        </p:nvSpPr>
        <p:spPr bwMode="gray">
          <a:xfrm>
            <a:off x="8107653" y="1962846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61" name="Oval 60">
            <a:extLst>
              <a:ext uri="{FF2B5EF4-FFF2-40B4-BE49-F238E27FC236}">
                <a16:creationId xmlns:a16="http://schemas.microsoft.com/office/drawing/2014/main" id="{A9AC829E-FD9B-059E-BA09-09F6A6AE64FF}"/>
              </a:ext>
            </a:extLst>
          </p:cNvPr>
          <p:cNvSpPr/>
          <p:nvPr/>
        </p:nvSpPr>
        <p:spPr bwMode="gray">
          <a:xfrm>
            <a:off x="8107653" y="2267933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id="{61157E8C-F112-5910-72A2-BCF4A3B01D2C}"/>
              </a:ext>
            </a:extLst>
          </p:cNvPr>
          <p:cNvSpPr/>
          <p:nvPr/>
        </p:nvSpPr>
        <p:spPr bwMode="gray">
          <a:xfrm>
            <a:off x="8107653" y="2113814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71" name="Oval 70">
            <a:extLst>
              <a:ext uri="{FF2B5EF4-FFF2-40B4-BE49-F238E27FC236}">
                <a16:creationId xmlns:a16="http://schemas.microsoft.com/office/drawing/2014/main" id="{E250121F-4DF2-04B4-AC9B-6B4E4A62F6CA}"/>
              </a:ext>
            </a:extLst>
          </p:cNvPr>
          <p:cNvSpPr/>
          <p:nvPr/>
        </p:nvSpPr>
        <p:spPr bwMode="gray">
          <a:xfrm>
            <a:off x="8888244" y="6386550"/>
            <a:ext cx="144000" cy="144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800" b="1" dirty="0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72" name="btfpCallout659635">
            <a:extLst>
              <a:ext uri="{FF2B5EF4-FFF2-40B4-BE49-F238E27FC236}">
                <a16:creationId xmlns:a16="http://schemas.microsoft.com/office/drawing/2014/main" id="{8386C64E-7F41-5F54-2914-B22BA0DF9C64}"/>
              </a:ext>
            </a:extLst>
          </p:cNvPr>
          <p:cNvSpPr/>
          <p:nvPr/>
        </p:nvSpPr>
        <p:spPr bwMode="gray">
          <a:xfrm>
            <a:off x="8806486" y="6350742"/>
            <a:ext cx="3106332" cy="215598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73" tIns="72073" rIns="72073" bIns="72073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1" indent="0" algn="r">
              <a:spcBef>
                <a:spcPts val="0"/>
              </a:spcBef>
              <a:buNone/>
            </a:pPr>
            <a:r>
              <a:rPr lang="en-GB" sz="800" dirty="0">
                <a:solidFill>
                  <a:schemeClr val="tx1"/>
                </a:solidFill>
              </a:rPr>
              <a:t>= Table number in PMDR Support Tool (‘Data_Microsite’ tab)</a:t>
            </a:r>
          </a:p>
        </p:txBody>
      </p:sp>
      <p:sp>
        <p:nvSpPr>
          <p:cNvPr id="3" name="btfpNotesBox120909">
            <a:extLst>
              <a:ext uri="{FF2B5EF4-FFF2-40B4-BE49-F238E27FC236}">
                <a16:creationId xmlns:a16="http://schemas.microsoft.com/office/drawing/2014/main" id="{386913B9-603A-EB86-F04C-07DC432D7112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1) Hidden slides show the respective absolute-view, where applicable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452FD077-ECBE-B4F3-BFCE-42F8C9842B4A}"/>
              </a:ext>
            </a:extLst>
          </p:cNvPr>
          <p:cNvSpPr/>
          <p:nvPr/>
        </p:nvSpPr>
        <p:spPr bwMode="gray">
          <a:xfrm>
            <a:off x="8107653" y="2676494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5BB3A4E-3266-7FAD-1AAE-955CE53652D5}"/>
              </a:ext>
            </a:extLst>
          </p:cNvPr>
          <p:cNvSpPr/>
          <p:nvPr/>
        </p:nvSpPr>
        <p:spPr bwMode="gray">
          <a:xfrm>
            <a:off x="8107653" y="2981581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6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ED60585-CC86-0C5A-0E40-B57DEDB6387C}"/>
              </a:ext>
            </a:extLst>
          </p:cNvPr>
          <p:cNvSpPr/>
          <p:nvPr/>
        </p:nvSpPr>
        <p:spPr bwMode="gray">
          <a:xfrm>
            <a:off x="8107653" y="2827462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5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92F8484-3776-6252-F5D2-E86ABC6723FF}"/>
              </a:ext>
            </a:extLst>
          </p:cNvPr>
          <p:cNvSpPr/>
          <p:nvPr/>
        </p:nvSpPr>
        <p:spPr bwMode="gray">
          <a:xfrm>
            <a:off x="8107653" y="3393100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7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313CF467-FCBB-C6CD-92DF-883597406137}"/>
              </a:ext>
            </a:extLst>
          </p:cNvPr>
          <p:cNvSpPr/>
          <p:nvPr/>
        </p:nvSpPr>
        <p:spPr bwMode="gray">
          <a:xfrm>
            <a:off x="8107653" y="3698187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4230587F-63AC-4AC6-D229-80C2DC67E1FC}"/>
              </a:ext>
            </a:extLst>
          </p:cNvPr>
          <p:cNvSpPr/>
          <p:nvPr/>
        </p:nvSpPr>
        <p:spPr bwMode="gray">
          <a:xfrm>
            <a:off x="8107653" y="3544068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8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84B2C234-C952-3B81-EB00-5ADF0BF43AFE}"/>
              </a:ext>
            </a:extLst>
          </p:cNvPr>
          <p:cNvSpPr/>
          <p:nvPr/>
        </p:nvSpPr>
        <p:spPr bwMode="gray">
          <a:xfrm>
            <a:off x="8107653" y="4109857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37D04EF-7B48-F716-87BB-436422D45F64}"/>
              </a:ext>
            </a:extLst>
          </p:cNvPr>
          <p:cNvSpPr/>
          <p:nvPr/>
        </p:nvSpPr>
        <p:spPr bwMode="gray">
          <a:xfrm>
            <a:off x="8107653" y="4414944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43ECB19C-627A-209D-05B2-D1850DC79A9E}"/>
              </a:ext>
            </a:extLst>
          </p:cNvPr>
          <p:cNvSpPr/>
          <p:nvPr/>
        </p:nvSpPr>
        <p:spPr bwMode="gray">
          <a:xfrm>
            <a:off x="8107653" y="4260825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0588DB87-6F49-01C2-E85F-EEDB04AEC48D}"/>
              </a:ext>
            </a:extLst>
          </p:cNvPr>
          <p:cNvSpPr/>
          <p:nvPr/>
        </p:nvSpPr>
        <p:spPr bwMode="gray">
          <a:xfrm>
            <a:off x="8107653" y="4825885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3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2B243D49-35FE-1B11-04C9-BD4007C77C9E}"/>
              </a:ext>
            </a:extLst>
          </p:cNvPr>
          <p:cNvSpPr/>
          <p:nvPr/>
        </p:nvSpPr>
        <p:spPr bwMode="gray">
          <a:xfrm>
            <a:off x="11302880" y="5210765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BC15C790-60A1-88DC-F30C-14E3F747A6F2}"/>
              </a:ext>
            </a:extLst>
          </p:cNvPr>
          <p:cNvSpPr/>
          <p:nvPr/>
        </p:nvSpPr>
        <p:spPr bwMode="gray">
          <a:xfrm>
            <a:off x="10359652" y="5470907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910C6A82-078A-594F-3278-826CA348BEA1}"/>
              </a:ext>
            </a:extLst>
          </p:cNvPr>
          <p:cNvSpPr/>
          <p:nvPr/>
        </p:nvSpPr>
        <p:spPr bwMode="gray">
          <a:xfrm>
            <a:off x="8107653" y="4980932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id="{F831DEF8-3709-A5A9-CDEA-E3CF0DAC6633}"/>
              </a:ext>
            </a:extLst>
          </p:cNvPr>
          <p:cNvSpPr/>
          <p:nvPr/>
        </p:nvSpPr>
        <p:spPr bwMode="gray">
          <a:xfrm>
            <a:off x="8107653" y="5914382"/>
            <a:ext cx="126000" cy="126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C0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600" b="1" dirty="0">
                <a:solidFill>
                  <a:srgbClr val="C00000"/>
                </a:solidFill>
              </a:rPr>
              <a:t>17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75551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72792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8" imgW="484" imgH="486" progId="TCLayout.ActiveDocument.1">
                  <p:embed/>
                </p:oleObj>
              </mc:Choice>
              <mc:Fallback>
                <p:oleObj name="think-cell Slide" r:id="rId88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sector and PortCos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9DA35284-6A50-80AA-9323-932F739AB58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0505800"/>
              </p:ext>
            </p:extLst>
          </p:nvPr>
        </p:nvGraphicFramePr>
        <p:xfrm>
          <a:off x="1916113" y="1519238"/>
          <a:ext cx="10023475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12925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7A337A-1C43-4E27-BFDF-B2891C2B7F72}" type="datetime'''''''''''''''''''''''''''''''''''''''''''''''''''''''''0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8929EFE-9367-568A-DBC5-7EE0AEEF2C1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728788" y="385762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F43DB5F-A831-45EE-9434-9D52B20D5B5A}" type="datetime'2''0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493A9DFD-3946-0273-B9E8-80247E0C2D5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728788" y="33162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2282027-FA8D-479E-8C5A-F7629E6ACC71}" type="datetime'''''''''4''''''''''''''''''''''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3696F543-2A50-93A5-B4BF-940AA3772F0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728788" y="27765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7B1E078-3F45-4456-A219-BE01103A98F1}" type="datetime'''60''''''''''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C66C3BD9-F44D-E6E3-1538-A02398B2829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728788" y="22352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23DBA5D-942B-45B3-BBF0-16C39CAD7770}" type="datetime'''8''''''''''''''''''''''''''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177740C8-E2FB-6A91-5AAF-A693636C34C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644650" y="1695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D28A813-E2F1-4DBE-9BD4-88FDCF69F39A}" type="datetime'''''''''''1''''''''''''0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5ACAA56-5F15-272C-16B4-1ABA97EDE23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 flipV="1">
            <a:off x="4425950" y="3948113"/>
            <a:ext cx="95250" cy="46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455CDB6-2666-BEEF-CED7-91DBB13A915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11468100" y="3732213"/>
            <a:ext cx="95250" cy="444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805B095-B8D1-BCA8-3302-ED3D7FDF924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114681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9FEA8612-48B1-A218-34D1-131104BEBBC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 flipV="1">
            <a:off x="3017838" y="1852613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2862869-7EBB-B687-D3AB-C6E598E0D20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 flipV="1">
            <a:off x="4425950" y="4176713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BC65D12-0C5B-C337-5FBA-D4DA8D03CF9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 flipV="1">
            <a:off x="4425950" y="4041774"/>
            <a:ext cx="95250" cy="134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C2C5FC8-2A45-DC0A-5A05-2FBFB246AD0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4425950" y="3811588"/>
            <a:ext cx="95250" cy="682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0A5D44D-D4D5-F75E-AEB3-BAE26FF60F1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4425950" y="3629025"/>
            <a:ext cx="95250" cy="1825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CE0DD6F-749B-E45E-CA28-2585DA8A3AD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5834063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875B6EB-D989-4660-F24B-FB8DA33E961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5834063" y="4279901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8EE3AF5-7D00-3269-AEE7-8B1BC953837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5834063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7E5A74A-7FCF-BF99-428F-2F0ECECF99A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5834063" y="3914774"/>
            <a:ext cx="95250" cy="342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63EA417-63F2-CFDF-6CF3-9A68C387E1D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5834063" y="3732213"/>
            <a:ext cx="95250" cy="471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DEDF4E1-2554-9E88-3547-5467CE72092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5834063" y="3549650"/>
            <a:ext cx="95250" cy="587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DDA91DB-A154-ED93-46E5-A2AEA13AC70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7243763" y="4370388"/>
            <a:ext cx="95250" cy="492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814CF27-120B-CE77-15F6-88A57670A1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7243763" y="4187825"/>
            <a:ext cx="95250" cy="123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C85F4AC-C0E0-5877-39AA-0C89BA5E334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7243763" y="4097338"/>
            <a:ext cx="95250" cy="1206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7243763" y="3914774"/>
            <a:ext cx="95250" cy="2349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C4CFB90-828C-AADD-4C86-C9603B76286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7243763" y="3732213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BFDC8D4-5A10-2E48-0A0A-6C091583081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7243763" y="3549650"/>
            <a:ext cx="95250" cy="519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BC17767-EC30-2FFD-4AED-B5226ACB674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8651875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4C1A40A-01AE-71FB-1DEE-4535A8C4AC3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8651875" y="4187825"/>
            <a:ext cx="95250" cy="138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651875" y="4005263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6CCD75A5-9732-F788-6234-A00D8A270E8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651875" y="3914775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F43BB8E-6B5A-E58D-6048-F1AD1626CEC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10059988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458E425A-7022-49ED-DBA5-9D69E1710FB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10059988" y="4279900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223486C-30FF-B490-E94D-03AB5560038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10059988" y="4097338"/>
            <a:ext cx="95250" cy="2682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A8B2920B-8EA8-15A0-ECBF-CE3F13848D5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 flipH="1">
            <a:off x="10059988" y="3914775"/>
            <a:ext cx="95250" cy="2222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6CEFE91-B3D9-2748-DB13-CED345385AF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 flipH="1">
            <a:off x="11468100" y="4279899"/>
            <a:ext cx="95250" cy="139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A57D799-4C40-BBAE-5F51-A1240DB439F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68100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72515A3-433F-8891-CAE3-FE1A4B64AAD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68100" y="3914775"/>
            <a:ext cx="95250" cy="3159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595563" y="3627438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942E9E-5012-4FBE-AA0D-FD3726C40932}" type="datetime'''''''''''''''1''''''''7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8" name="Text Placeholder">
            <a:extLst>
              <a:ext uri="{FF2B5EF4-FFF2-40B4-BE49-F238E27FC236}">
                <a16:creationId xmlns:a16="http://schemas.microsoft.com/office/drawing/2014/main" id="{36A5C706-B8A8-6DE8-9A72-EB992F2010E3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2595563" y="2749550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3F3216-4A4D-42CD-9DC6-BF2234D95CF2}" type="datetime'''''''''''''''''''''''''''''''''''''''''''''''''1''''2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2554288" y="1577975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EFFB88-1F9A-4AA6-93E3-4D6D04B0F3AE}" type="datetime'''''''''''1''''''''''''''''0''0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644649" y="1390650"/>
            <a:ext cx="4217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PortCos, 2023 (# of PortCos)</a:t>
            </a: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411788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1F7EA2-24A2-4128-88B9-2784634C2CCB}" type="datetime'1''''''''''''''''''''''''''4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821488" y="38481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8CBFEC-77DA-4F86-A39B-0805C22A50FC}" type="datetime'''''''''''''''''''''''''''1''''''''''''''''6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8229600" y="37941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D5EB37-A563-433B-A3A7-6CAF82301D1E}" type="datetime'''''''''''''''''''''''''''''''1''''''''''''''8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637713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286D7C-AA7A-43E8-A5E5-06A21FE79442}" type="datetime'''''''''''1''''''''''4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1045825" y="395605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E3091A-FC7C-44A6-9025-C331D6026654}" type="datetime'''''''''''''''''''''1''''2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003675" y="35766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9E4C8E-17C6-4E84-A27A-D4716EA124D9}" type="datetime'2''6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99866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0703A8C-C443-4DD1-9995-DEDC15A5830C}" type="datetime'To''''''''''t''''''a''''''''''''''''''''''l''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81488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31849B-3A12-45F6-B514-D9C8D80BEE09}" type="datetime'''''''S''''''''''ec''''''''''''''t''''''''o''r ''''''2'">
              <a:rPr lang="en-GB" altLang="en-US" sz="1200" smtClean="0">
                <a:solidFill>
                  <a:srgbClr val="000000"/>
                </a:solidFill>
              </a:rPr>
              <a:pPr/>
              <a:t>Sector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224589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C4F0731-0B4B-43AE-AE09-E0479760132C}" type="datetime'''''''''S''''e''''''c''''t''''o''''r'''' ''3'''''''''''''''''">
              <a:rPr lang="en-GB" altLang="en-US" sz="1200" smtClean="0">
                <a:solidFill>
                  <a:srgbClr val="000000"/>
                </a:solidFill>
              </a:rPr>
              <a:pPr/>
              <a:t>Sector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40836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EC9F91-DB21-43BA-96C0-DE0DBADBEFFA}" type="datetime'''''Se''''c''''''to''r ''''''''''''''1'''''''''''">
              <a:rPr lang="en-GB" altLang="en-US" sz="1200" smtClean="0">
                <a:solidFill>
                  <a:srgbClr val="000000"/>
                </a:solidFill>
              </a:rPr>
              <a:pPr/>
              <a:t>Sector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63111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F0285AF-507A-41C1-88FE-BF5FD58B2305}" type="datetime'''''''S''e''c''''t''''''''''or ''''4'''''''''''''''''''">
              <a:rPr lang="en-GB" altLang="en-US" sz="1200" smtClean="0">
                <a:solidFill>
                  <a:srgbClr val="000000"/>
                </a:solidFill>
              </a:rPr>
              <a:pPr/>
              <a:t>Sector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57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66060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25578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0785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0785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0596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0785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43651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0785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43651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0785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43651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30200" y="4854576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3F336AD-CBBE-454F-8050-D1A596414E3E}" type="datetime'A''''''''l''''ign''men''''t'''' ''''''''l''''''e''v''''el''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0785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43651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0785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04081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FBD112-7EE1-4365-84CA-F080B6AFC928}" type="datetime'''''S''''''''''''''e''ct''o''r'''''''''' ''''5'''">
              <a:rPr lang="en-GB" altLang="en-US" sz="1200" smtClean="0">
                <a:solidFill>
                  <a:srgbClr val="000000"/>
                </a:solidFill>
              </a:rPr>
              <a:pPr/>
              <a:t>Sector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44733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E2DCB9-EA67-40E9-9B1E-DC24092171B4}" type="datetime'''''''''Se''''''''''''''''''''c''''to''r'''''''' ''''6'">
              <a:rPr lang="en-GB" altLang="en-US" sz="1200" smtClean="0">
                <a:solidFill>
                  <a:srgbClr val="000000"/>
                </a:solidFill>
              </a:rPr>
              <a:pPr/>
              <a:t>Sector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99866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502A27C-2B03-4163-88AE-8BB9AA1B6C8D}" type="datetime'''''''2''0'''''' %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40836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0E32AB-52A4-41E9-85D6-67838D1D1E8E}" type="datetime'''''''''''''''''''''''''''''''''8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81488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C1532F-E301-4736-83FE-8E3ED66D130D}" type="datetime'''''''''''''''''''3''''6''''''''''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6224589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CE0D2F-9C64-4820-B135-A14E29C41A1E}" type="datetime'''''''''''''''''''6'''''' ''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3111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6594A3-BF75-48D7-9FA5-86F859AE3A49}" type="datetime'''''''''0''''''''''''''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04081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549BCA-B804-440F-8D0D-63548FC51547}" type="datetime'5''''''''''''''''7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44733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17F781-A1BA-4BC8-B6FB-E531131F490B}" type="datetime'''''''''''''3''3'' 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41700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123F49C4-9FDA-8297-7858-8B96A4B9EC4C}"/>
              </a:ext>
            </a:extLst>
          </p:cNvPr>
          <p:cNvGrpSpPr/>
          <p:nvPr>
            <p:custDataLst>
              <p:tags r:id="rId68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2" name="btfpRunningAgenda1LevelBarLeft573689">
              <a:extLst>
                <a:ext uri="{FF2B5EF4-FFF2-40B4-BE49-F238E27FC236}">
                  <a16:creationId xmlns:a16="http://schemas.microsoft.com/office/drawing/2014/main" id="{15502DAF-BFB5-1359-064F-410ECACB1C10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3" name="btfpRunningAgenda1LevelTextLeft573689">
              <a:extLst>
                <a:ext uri="{FF2B5EF4-FFF2-40B4-BE49-F238E27FC236}">
                  <a16:creationId xmlns:a16="http://schemas.microsoft.com/office/drawing/2014/main" id="{A986CDCC-42DB-2832-4A17-57520EFED496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A434C93B-7B68-1D4E-EDD8-AEF9B7BB17A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30200" y="5219701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D55BFC1-1510-490C-BB54-601E9C00E13F}" type="datetime'''Inve''sted'' ''''''c''''a''pi''''t''a''l ''(''''''$b)''''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32D3338A-E4B0-EBC9-F826-4BB1F44A3D0A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99866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6A63D6-B333-4F2E-8E35-D2D29B66C969}" type="datetime'9''''.0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FFA0BA3-D196-488C-69A2-D27D6FDA674E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40836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8E3A1A9-E5D9-424D-917B-653076185336}" type="datetime'''''''''''''''''''''1''''''''''''''''''''''''''''.''''''0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345FD94-1582-8C64-37AC-00C5A1430B35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481488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E8EB0A-CF6B-46C3-BAC7-42562294EC3E}" type="datetime'''''''''''''''''''''''2''''.''0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76E5A1CF-7F3D-FCF2-2F7D-0A23E7D351F1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224589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B7E3827-DCB8-4F7E-8348-F73509BC2BE9}" type="datetime'''''''''''''''''1''''''''''''.''''0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587BE75E-9279-DF2F-962F-4A73C403017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63111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0443EB-55D2-48E7-BDD6-372BBB5F62EE}" type="datetime'''''''1''''''''''''''''''''''''.''''''0''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BB21B0FE-79CA-A58A-D6A4-D9D5D3FB743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04081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F26A5F-2233-4ABE-A9AC-ABF375BA1A4E}" type="datetime'''''3''.''''''''''''''''''''''''''''''''''0''''''''''''''''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3DFBF2AE-35BB-862C-5059-720945A76C55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044733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BAE800E-4826-4312-ADBF-48D08E5B2B05}" type="datetime'''''''''''''2''''''''''.''''''0''''''''''''''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BB0DE111-9D37-3D80-E110-70B28BF2FD1B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30200" y="5584826"/>
            <a:ext cx="30781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D03418B-DC9B-46B8-A835-3164CB67E15D}" type="datetime'F''in''anc''''ed'''''''''''' emi''ss''io''''ns (t''C''O2''e)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49FCB9AE-6759-A823-C508-07CE458D6366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99866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747C0B-7CEF-4ECD-9926-D5C62EA79178}" type="datetime'''''''1''''''4'''''''''',8''''''''''''''''0''''0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7CB732FB-91DA-58E7-1AA4-7519B6D16DF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40836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4C3D5D2-8AC4-4F09-9144-D3CDF605B3AA}" type="datetime'2'''''''''''''''''''''''',''''4''''6''''''''''5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BF261413-3776-8C44-C557-3B6105BAFF4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81488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8B855F3-FEBF-4688-8E20-1D302E1DDCEB}" type="datetime'''''''''''''''''''2'''',8''''''''''''''''''''''''''55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53AC9CB1-1813-4B40-B76A-B2BF8A365C5E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224589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89DC23-BABD-4C75-9635-0C6C89793A03}" type="datetime'''1'''''''''''''',''4''''''''''''''2''''''''''0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05C61F2E-F127-AA39-0875-69565E3DDCB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63111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1F0A31-AEFC-4153-83A8-91422CBF9D29}" type="datetime'''''''1,''''''''42''''''''''''''''''''''''''''''''''5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B97FC976-72E8-7FF1-6CC9-1CE30C0FE45C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904081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2BB89D-8CF7-41DC-9BF0-60F1763CF6E6}" type="datetime'''''''3,''8''''''''''''''''''7''''''''''''''''''0''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CB465B2-5A55-DA3F-32AE-E29B3A4AB16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044733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A7AC037-627F-4EEE-9AE8-0FAAE812710B}" type="datetime'''''2'''''''''''''',''''''6''''8''''''''''''''''''''8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52254600-3CA7-8CFD-5E62-57DA159A0B3A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9</a:t>
            </a:r>
          </a:p>
        </p:txBody>
      </p:sp>
      <p:sp>
        <p:nvSpPr>
          <p:cNvPr id="35" name="btfpNotesBox885677">
            <a:extLst>
              <a:ext uri="{FF2B5EF4-FFF2-40B4-BE49-F238E27FC236}">
                <a16:creationId xmlns:a16="http://schemas.microsoft.com/office/drawing/2014/main" id="{B99413CA-3C30-A9AD-7585-DD8A5C7E8A1C}"/>
              </a:ext>
            </a:extLst>
          </p:cNvPr>
          <p:cNvSpPr txBox="1"/>
          <p:nvPr>
            <p:custDataLst>
              <p:tags r:id="rId8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  <p:sp>
        <p:nvSpPr>
          <p:cNvPr id="36" name="btfpBulletedList558347">
            <a:extLst>
              <a:ext uri="{FF2B5EF4-FFF2-40B4-BE49-F238E27FC236}">
                <a16:creationId xmlns:a16="http://schemas.microsoft.com/office/drawing/2014/main" id="{A26F77DC-80D1-CBC2-1295-7B39B1870C25}"/>
              </a:ext>
            </a:extLst>
          </p:cNvPr>
          <p:cNvSpPr/>
          <p:nvPr/>
        </p:nvSpPr>
        <p:spPr bwMode="gray">
          <a:xfrm>
            <a:off x="8954100" y="0"/>
            <a:ext cx="3237900" cy="154259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select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3332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8815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84" imgH="486" progId="TCLayout.ActiveDocument.1">
                  <p:embed/>
                </p:oleObj>
              </mc:Choice>
              <mc:Fallback>
                <p:oleObj name="think-cell Slide" r:id="rId64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financed emission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7303E80F-0C1D-0942-E76B-1BAFC05788FD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52206365"/>
              </p:ext>
            </p:extLst>
          </p:nvPr>
        </p:nvGraphicFramePr>
        <p:xfrm>
          <a:off x="1244600" y="1519238"/>
          <a:ext cx="106949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636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B0D0E54-CE92-448E-B31C-2D5B14FB12F3}" type="datetime'''''''''''0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8" name="Text Placeholder">
            <a:extLst>
              <a:ext uri="{FF2B5EF4-FFF2-40B4-BE49-F238E27FC236}">
                <a16:creationId xmlns:a16="http://schemas.microsoft.com/office/drawing/2014/main" id="{240B0806-4115-D4BA-71A8-DF061BC1680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794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B091552-E8D7-4DF2-857C-839EA4B7B27D}" type="datetime'''2''''''0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9" name="Text Placeholder">
            <a:extLst>
              <a:ext uri="{FF2B5EF4-FFF2-40B4-BE49-F238E27FC236}">
                <a16:creationId xmlns:a16="http://schemas.microsoft.com/office/drawing/2014/main" id="{007C75DE-8E55-DD45-1061-0B5953D34C8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794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DA0EBDA-276C-4E24-B9F6-16598E3C69A1}" type="datetime'''''''''''''''''''4''''0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0" name="Text Placeholder">
            <a:extLst>
              <a:ext uri="{FF2B5EF4-FFF2-40B4-BE49-F238E27FC236}">
                <a16:creationId xmlns:a16="http://schemas.microsoft.com/office/drawing/2014/main" id="{31FB6215-A5F6-4FE0-C6CE-9CBDD6411FA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794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E91633A-B999-4287-919C-F18BAC1507CC}" type="datetime'''''''''6''''''''''''''''''''0'''''''''''''' 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1" name="Text Placeholder">
            <a:extLst>
              <a:ext uri="{FF2B5EF4-FFF2-40B4-BE49-F238E27FC236}">
                <a16:creationId xmlns:a16="http://schemas.microsoft.com/office/drawing/2014/main" id="{03477EC6-F156-20F9-E52B-C40965C8DB4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794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61CBB3F-52FC-4A6A-BDDE-11152A272340}" type="datetime'8''''''''''''''0''''''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953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C1DAA7-4CA5-4FB2-846A-55E2AD2D2901}" type="datetime'''''''''''''''''''''1''''''''00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E0DB4FBD-7BA8-BC66-4003-E8D5B09E46E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420938" y="4370389"/>
            <a:ext cx="95250" cy="539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6745FD9-F779-266F-0F0C-5DADBC0D94B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429250" y="4370388"/>
            <a:ext cx="95250" cy="666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95D3AF4-6FC8-46B4-D5EF-9EC32EC61E5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429250" y="4187825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429250" y="4097339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9942513" y="4370388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11445875" y="4370388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95338" y="1390650"/>
            <a:ext cx="42481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financed emissions, 2023 (%)</a:t>
            </a: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008D3AB0-118B-1A45-356A-09B3369D53D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925637" y="4160838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857AD9-48E4-4F96-B2F7-1F3915C5C59D}" type="datetime'''''''''''''''''''8''''''''''''''''''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8" name="Text Placeholder">
            <a:extLst>
              <a:ext uri="{FF2B5EF4-FFF2-40B4-BE49-F238E27FC236}">
                <a16:creationId xmlns:a16="http://schemas.microsoft.com/office/drawing/2014/main" id="{942B0107-B0D1-6921-209B-D1F49BF24C0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882775" y="36941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02AFC3-87C3-4634-84E6-E32599ABE622}" type="datetime'''''''''''''''1''''0''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9" name="Text Placeholder">
            <a:extLst>
              <a:ext uri="{FF2B5EF4-FFF2-40B4-BE49-F238E27FC236}">
                <a16:creationId xmlns:a16="http://schemas.microsoft.com/office/drawing/2014/main" id="{D10E3CF7-9983-74D8-125F-DA949B35B03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387725" y="38512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C340E0-4967-4EAA-8477-5FE5838D9F2B}" type="datetime'''''''''''''''''''''''''''15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6C5382D5-242B-FF73-F7A7-39AF3AFA0319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387725" y="3130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96B4D6E-509D-4041-950A-61698CB10C5C}" type="datetime'1''''''2'''''''''' ''''%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1" name="Text Placeholder">
            <a:extLst>
              <a:ext uri="{FF2B5EF4-FFF2-40B4-BE49-F238E27FC236}">
                <a16:creationId xmlns:a16="http://schemas.microsoft.com/office/drawing/2014/main" id="{E00E2973-D906-2021-50E0-072D65B1B8D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396038" y="3849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64E86A-F151-4B74-A8F3-D96033209E4D}" type="datetime'''''''''''''''''''''''''16'''' 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9D20B39-C47E-A537-D678-236668143A4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402388" y="3074988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D0EA3F-CA25-4336-BCE9-2FFE2F71BA5A}" type="datetime'''''''''''1''''''''''''''''''''''''''''''1'''''''' 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3" name="Text Placeholder">
            <a:extLst>
              <a:ext uri="{FF2B5EF4-FFF2-40B4-BE49-F238E27FC236}">
                <a16:creationId xmlns:a16="http://schemas.microsoft.com/office/drawing/2014/main" id="{8097E91D-90E5-DE1F-5194-84DBB4D2E42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7899400" y="37719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7DA1E0-840F-4FF7-9F92-E9ADFD4F8046}" type="datetime'3''2'''''''''''''''' ''''''''''''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4" name="Text Placeholder">
            <a:extLst>
              <a:ext uri="{FF2B5EF4-FFF2-40B4-BE49-F238E27FC236}">
                <a16:creationId xmlns:a16="http://schemas.microsoft.com/office/drawing/2014/main" id="{06A03A36-433A-E2F5-0315-52E6675151E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905750" y="242411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2FB60A-A539-45FF-9655-2B3FF128174A}" type="datetime'1''''''''''''''''''''''1'' 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5" name="Text Placeholder">
            <a:extLst>
              <a:ext uri="{FF2B5EF4-FFF2-40B4-BE49-F238E27FC236}">
                <a16:creationId xmlns:a16="http://schemas.microsoft.com/office/drawing/2014/main" id="{6C8DFCBE-0DF3-2DB2-471E-5CF1F00509BE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9447212" y="425132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C385CF-F127-4F8B-A2D1-DB26DD67235E}" type="datetime'''''''''''''''''''''''''8 ''''''''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6" name="Text Placeholder">
            <a:extLst>
              <a:ext uri="{FF2B5EF4-FFF2-40B4-BE49-F238E27FC236}">
                <a16:creationId xmlns:a16="http://schemas.microsoft.com/office/drawing/2014/main" id="{69B966D8-8514-DBFC-9EE1-D997006C768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0907713" y="41116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4BC079-FEB1-4D0C-8219-3F9FF06DB5EE}" type="datetime'''''''''''1''''''''''''''''''''''''''''7'' 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327150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C1BE2-EF0F-4769-A0D1-2CA404005837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35463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242D3E3-C76A-4DD6-A5FA-C8EFE7E077A2}" type="datetime'''''''''''R''e''''''gi''''''''''''o''''n''''''''''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838825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61E8C2-A4EB-4BFD-9C2D-55DACB759473}" type="datetime'''''R''eg''''i''''''''''''''''on'''''''''' ''''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830513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E3D2AA6-3F99-4B0F-B1E8-88C4E9AC8593}" type="datetime'Re''''''''g''''''''''''''''''''''''''''''''''''io''''n 1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343775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BE4398-8C8C-4599-9D81-1303997CB4F0}" type="datetime'''''Re''''''g''ion'''''''''''''''''''''''''''' 4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30200" y="4854575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884713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925C26A-E4DC-456C-A5DE-988696F8618D}" type="datetime'''R''e''''''''''''''g''''''''''i''''''''''''''o''n ''''5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035208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EC8DB03-FF95-4606-B1BB-BB7A917B4EAD}" type="datetime'''R''''''eg''i''''''o''''''''''''''''n 6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327150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D3030B-F78A-4E0C-BDD0-FBD32ACC3086}" type="datetime'''''''''''''''''5''''0'''''''' 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830513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D5E21D-8BCB-46A8-9A76-7AFDD5F46B02}" type="datetime'''''''''''''2''''''''''''4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335463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55F49E-0CD4-421B-9E1F-BFC8947F7B38}" type="datetime'''7''''''''''''''''''5''''''''''''''''''''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5838825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9E521-80BC-463B-9F2E-FCA2653EA09D}" type="datetime'''''''''''''''''''''''''''''1''''9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343775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F1AE22-9C35-4C4A-9493-08EFD6B17C43}" type="datetime'''''''''''''''0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884713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3983E0-1FCA-4C84-98C8-588278EBB832}" type="datetime'''''''''''''''''''''''7''''''''6''''''''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035208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55C918-D13D-4138-982D-D99131C835F6}" type="datetime'5''''''''''''''''''5'''''''' 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322" name="btfpBulletedList270678">
            <a:extLst>
              <a:ext uri="{FF2B5EF4-FFF2-40B4-BE49-F238E27FC236}">
                <a16:creationId xmlns:a16="http://schemas.microsoft.com/office/drawing/2014/main" id="{C93173D2-C82F-F2C2-D24E-2FADC27B9E48}"/>
              </a:ext>
            </a:extLst>
          </p:cNvPr>
          <p:cNvSpPr/>
          <p:nvPr/>
        </p:nvSpPr>
        <p:spPr bwMode="gray">
          <a:xfrm>
            <a:off x="8954100" y="0"/>
            <a:ext cx="3237900" cy="129380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325" name="btfpRunningAgenda1Level573689">
            <a:extLst>
              <a:ext uri="{FF2B5EF4-FFF2-40B4-BE49-F238E27FC236}">
                <a16:creationId xmlns:a16="http://schemas.microsoft.com/office/drawing/2014/main" id="{554CCAB4-BB26-0D9E-1827-1D08C8460065}"/>
              </a:ext>
            </a:extLst>
          </p:cNvPr>
          <p:cNvGrpSpPr/>
          <p:nvPr>
            <p:custDataLst>
              <p:tags r:id="rId44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326" name="btfpRunningAgenda1LevelBarLeft573689">
              <a:extLst>
                <a:ext uri="{FF2B5EF4-FFF2-40B4-BE49-F238E27FC236}">
                  <a16:creationId xmlns:a16="http://schemas.microsoft.com/office/drawing/2014/main" id="{BD534018-0F16-DC95-76FA-FD83529AB3A2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27" name="btfpRunningAgenda1LevelTextLeft573689">
              <a:extLst>
                <a:ext uri="{FF2B5EF4-FFF2-40B4-BE49-F238E27FC236}">
                  <a16:creationId xmlns:a16="http://schemas.microsoft.com/office/drawing/2014/main" id="{998A6783-7D77-E180-1BCB-05CFE6762887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43F8B5BB-7CBF-51F7-3CA5-E235C275D89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30200" y="5219700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04064D7-B1B8-49EA-AD42-C9F782BA4922}" type="datetime'''''''#'''' ''''of'''''' ''P''''''''''o''r''t''''C''''o''s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BEBCAFE-88FA-99E9-BF64-C6D0BE10113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327150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68D439-081F-4A1D-9EC7-5707CCB295E7}" type="datetime'''''''''''''1''0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0F04A4EA-3D34-6CD4-6E2C-077FBF9CAE8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30513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1D08E0-30F6-46B5-B49D-BCA6C653974D}" type="datetime'''''''''''''''''''''''''''''''''''''''''2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E9522832-71CD-9F9F-140A-98285BE75AE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335463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FA7D8C-1828-4863-99F7-FD1BF67C2C80}" type="datetime'''''''''''''''''''''''1''''''''''''''''''''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7757A509-3042-73BF-F5B7-FE3D3E83CFF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838825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29DB5A-B622-44D9-AB21-48588393F163}" type="datetime'''''''1''''''''''''''''''''''''6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3B3759F6-C398-46F2-E4E6-0209CFA09E9C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43775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EE96E-1CCF-45A6-8A25-51151F379489}" type="datetime'''''1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C4057B45-D1F8-D411-14D2-9F7782B80F1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84713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129477D-7341-4F5C-B3D9-AE6912EF3450}" type="datetime'''''''''''''''''1''4''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A4CD4879-394C-E6E2-0477-812023C8905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35208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B4FAFD-7DA2-4D6A-B87D-D652072F1317}" type="datetime'''''''1''''''''''''''2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7602C786-365A-D8EA-43FD-FDAA2817FB74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F6CA49E-AD05-41B1-83B4-BF65F4443012}" type="datetime'Inve''''ste''d'' ''capi''t''a''l'''' ''''(%'''''''''')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5621C8F7-420D-B5C0-5A52-ED21BEA2B99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88EE7F-04A7-48E4-9CF7-471F1F9C9DBB}" type="datetime'1''''''''''''''0''''''''''''''''0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3CDBF465-68E2-F928-32DF-1B8F52BBEB1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B5EEEA-67C1-4F8D-BDFE-F8F699DE5C2B}" type="datetime'''''''''''''''1''''''6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64C9A6D9-34A3-0929-7AFB-A63757A7E7D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EF8683-FBD8-4BC9-8ADB-EFA6F69EEFC7}" type="datetime'''''''''''''''''''''''''''''''2''0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524ECCC5-47EA-3455-2CB8-9CAEEC6CFA16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FAE7EE-017A-43B3-9520-F0F5521D134E}" type="datetime'''''''''9'' ''''''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CEA978D-3565-0662-5EC7-D31FAC1BF4D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D7C186-DBEA-4A92-91D3-3004FD5C1659}" type="datetime'''''9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33B6EFF2-ADF4-133E-09A1-7DC28A2261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4BA7AB-1D01-4ED9-91C7-BE4AF6D78B83}" type="datetime'''''''''2''''''''''''''''''''''''''''7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D3BDA36F-CD91-0D2B-484C-843A9B08F91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602F63-3712-4388-ACC8-27E462FA9911}" type="datetime'''''''''''''''''''2''''''''''''''''''''''2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E81F8C12-251D-44C9-2EA7-DA2C1F3431E6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15" name="btfpNotesBox623158">
            <a:extLst>
              <a:ext uri="{FF2B5EF4-FFF2-40B4-BE49-F238E27FC236}">
                <a16:creationId xmlns:a16="http://schemas.microsoft.com/office/drawing/2014/main" id="{EAACA130-3ACE-B72A-6E47-90745322B382}"/>
              </a:ext>
            </a:extLst>
          </p:cNvPr>
          <p:cNvSpPr txBox="1"/>
          <p:nvPr>
            <p:custDataLst>
              <p:tags r:id="rId61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6257906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54460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0" imgW="484" imgH="486" progId="TCLayout.ActiveDocument.1">
                  <p:embed/>
                </p:oleObj>
              </mc:Choice>
              <mc:Fallback>
                <p:oleObj name="think-cell Slide" r:id="rId9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financed emissions</a:t>
            </a:r>
          </a:p>
        </p:txBody>
      </p:sp>
      <p:graphicFrame>
        <p:nvGraphicFramePr>
          <p:cNvPr id="82" name="Chart 81">
            <a:extLst>
              <a:ext uri="{FF2B5EF4-FFF2-40B4-BE49-F238E27FC236}">
                <a16:creationId xmlns:a16="http://schemas.microsoft.com/office/drawing/2014/main" id="{5C7304BC-AC41-11CF-2599-53FF709B499F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0437570"/>
              </p:ext>
            </p:extLst>
          </p:nvPr>
        </p:nvGraphicFramePr>
        <p:xfrm>
          <a:off x="1244600" y="1519238"/>
          <a:ext cx="10694988" cy="3357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141413" y="45196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CFBBB27-21D0-4673-AADA-B3FE66F964C7}" type="datetime'''''''''0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F10D997B-5840-0169-104D-30634ED9840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46138" y="35782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DD7FB99-6BF0-4C91-AB95-BC7916C7648A}" type="datetime'''''''''''''''''''''5'''''''',''''''0''''''''''''''''0''0'">
              <a:rPr lang="en-GB" altLang="en-US" sz="1200" smtClean="0">
                <a:solidFill>
                  <a:srgbClr val="000000"/>
                </a:solidFill>
              </a:rPr>
              <a:pPr/>
              <a:t>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4" name="Text Placeholder">
            <a:extLst>
              <a:ext uri="{FF2B5EF4-FFF2-40B4-BE49-F238E27FC236}">
                <a16:creationId xmlns:a16="http://schemas.microsoft.com/office/drawing/2014/main" id="{3299E25F-525B-2207-C28A-6973DED1F61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762000" y="263683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2E590F0-3DDE-457F-A427-5EE1423DE08C}" type="datetime'''10'',''''0''''''''''''''''''''''0''''''''''''0''''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09DED4D5-6104-C4AF-FC61-CCA12D064A9B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762000" y="1695450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27AEADB-B3CF-41C3-AF4F-682E7A629ED8}" type="datetime'''''1''''''''''''5'''',''''''''''0''''0''''''''''''''''''0'''">
              <a:rPr lang="en-GB" altLang="en-US" sz="1200" smtClean="0">
                <a:solidFill>
                  <a:srgbClr val="000000"/>
                </a:solidFill>
              </a:rPr>
              <a:pPr/>
              <a:t>1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 flipH="1">
            <a:off x="9942513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F3BD6246-A482-DD37-975B-49DFC8D1213E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2420938" y="4492624"/>
            <a:ext cx="95250" cy="508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2" name="Straight Connector 101">
            <a:extLst>
              <a:ext uri="{FF2B5EF4-FFF2-40B4-BE49-F238E27FC236}">
                <a16:creationId xmlns:a16="http://schemas.microsoft.com/office/drawing/2014/main" id="{42D52B89-08EE-43DB-EC80-0102551BCDB0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3925888" y="4492625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8E7DF773-161C-7581-9639-FF39F5E94CE9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9942513" y="4402138"/>
            <a:ext cx="95250" cy="168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B45BED40-5199-0168-CAC9-0BF7F987134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9942513" y="4219575"/>
            <a:ext cx="95250" cy="2698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11445875" y="4492625"/>
            <a:ext cx="95250" cy="1111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518385B2-2F32-113B-F939-AC99127D6135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>
            <a:off x="11445875" y="4402137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D3FCCC70-C2A8-0244-3FA5-D134451B5E0A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11445875" y="4219574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042D6B96-5021-9150-9DE8-FD07E0FB5A12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11445875" y="4037013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3" name="Straight Connector 102">
            <a:extLst>
              <a:ext uri="{FF2B5EF4-FFF2-40B4-BE49-F238E27FC236}">
                <a16:creationId xmlns:a16="http://schemas.microsoft.com/office/drawing/2014/main" id="{1FAB05A2-D21E-B09B-DABD-9F81D378F2FF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3925888" y="4402138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1544555F-1D4D-627D-466C-885F088A6DDB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3925888" y="4219575"/>
            <a:ext cx="95250" cy="231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5" name="Straight Connector 104">
            <a:extLst>
              <a:ext uri="{FF2B5EF4-FFF2-40B4-BE49-F238E27FC236}">
                <a16:creationId xmlns:a16="http://schemas.microsoft.com/office/drawing/2014/main" id="{1E9535BA-03DA-C0C8-2660-3F290767B073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3925888" y="4037013"/>
            <a:ext cx="95250" cy="355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01F13ECF-C82B-A8CE-9F34-F27AF2081FEB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3925888" y="3854449"/>
            <a:ext cx="95250" cy="457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6374E463-A034-76E2-136F-C220AADD936F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3925888" y="3671888"/>
            <a:ext cx="95250" cy="530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3"/>
            </p:custDataLst>
          </p:nvPr>
        </p:nvCxnSpPr>
        <p:spPr bwMode="gray">
          <a:xfrm flipH="1">
            <a:off x="5429250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5429250" y="4402138"/>
            <a:ext cx="95250" cy="173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5429250" y="4219574"/>
            <a:ext cx="95250" cy="330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7383BD7E-6F0D-BD8E-4E39-7303AEA5E77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5429250" y="4037013"/>
            <a:ext cx="95250" cy="455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F855F7C5-08BC-1E1D-3453-6F8C501F6E14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6934200" y="4492625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92ABB884-FA29-198A-CD51-0C20AB4AA1AD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6934200" y="4402137"/>
            <a:ext cx="95250" cy="1524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A407E248-C473-7F36-EE1D-4E70C8D2B7D0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6934200" y="4219574"/>
            <a:ext cx="95250" cy="2936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1DA4C49F-F51B-A291-CEA7-D90C35826D1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6934200" y="4037013"/>
            <a:ext cx="95250" cy="441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A783E15E-29FF-7AFF-B12E-7A5B60EA4DDE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6934200" y="3854450"/>
            <a:ext cx="95250" cy="5730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ED6FB47A-C626-C123-70C9-2567A982217C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6934200" y="3671888"/>
            <a:ext cx="95250" cy="695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1E42535-AE8A-2023-8603-D156BE43A10F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437563" y="4492625"/>
            <a:ext cx="95250" cy="1063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5CE7B2FD-6CD4-8D5B-3A18-D07F0E5A9CA7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437563" y="4402138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897B5872-C962-8C92-39F9-D353509FA6F6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8437563" y="4219575"/>
            <a:ext cx="95250" cy="2460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D7F13E49-DD2A-BBDF-E605-CDD8F81E0F94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8437563" y="4037013"/>
            <a:ext cx="95250" cy="3762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7B9DC358-00C7-C8AF-1829-1DE4D4C57804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8437563" y="3854449"/>
            <a:ext cx="95250" cy="515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762000" y="1390650"/>
            <a:ext cx="45529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financed emissions, 2023 (tCO2e)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B46A579F-ECD1-78C8-9368-DBB86D08914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1866900" y="40481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94B80E-B1B6-46D5-B309-F812E6EEAED0}" type="datetime'''''''''''1'''''''''''''''',''''''''''''''''''''''20''0'">
              <a:rPr lang="en-GB" altLang="en-US" sz="1200" smtClean="0">
                <a:solidFill>
                  <a:srgbClr val="000000"/>
                </a:solidFill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1866900" y="3794125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C24D4E-261E-49B7-BCC0-5FAB42C2F501}" type="datetime'''''''''''''''''''1'''''''',5''''''''''''''0''''''''''''0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AFF5F2-705F-3A28-A8FD-0C75DBCDBF0A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866900" y="33893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6ECB739-4968-43F2-BB9E-5DE24DB3097B}" type="datetime'''''''''''''''''''2'''''''',''''''''8''''''''''''0''''0'''''''">
              <a:rPr lang="en-GB" altLang="en-US" sz="1200" smtClean="0">
                <a:solidFill>
                  <a:srgbClr val="000000"/>
                </a:solidFill>
              </a:rPr>
              <a:pPr/>
              <a:t>2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8EF6AFB-7BE3-F1AE-0567-BD2E07055CB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866900" y="27400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8AAC74-D5CA-40CD-8617-A76643C0EDB8}" type="datetime'''''4'''''''',''''''''''''''''''''''1''''''''''''0''''0'''''">
              <a:rPr lang="en-GB" altLang="en-US" sz="1200" smtClean="0">
                <a:solidFill>
                  <a:srgbClr val="FFFFFF"/>
                </a:solidFill>
              </a:rPr>
              <a:pPr/>
              <a:t>4,1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0C3AFCDD-98F8-DC01-DDB4-946C3665237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866900" y="20431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8F89589-F2FF-4BE0-9C95-5CEAA693704E}" type="datetime'''''3'''''''',''''''3''''''''''''''''''0''''''''''''''''0'">
              <a:rPr lang="en-GB" altLang="en-US" sz="1200" smtClean="0">
                <a:solidFill>
                  <a:srgbClr val="FFFFFF"/>
                </a:solidFill>
              </a:rPr>
              <a:pPr/>
              <a:t>3,3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866900" y="4273550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22EE7D-74A2-4F71-9E09-0F3676E3F850}" type="datetime'1'''''',''2''''''''''''''''''''''''''''''''''''0''0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B593A711-6897-DCF7-2890-C003865CF9D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9388475" y="41957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62AE4C8-F975-4A46-80BE-9404C297FDC8}" type="datetime'''1'''''''''''''''',''''6''''''''0''''0'">
              <a:rPr lang="en-GB" altLang="en-US" sz="1200" smtClean="0">
                <a:solidFill>
                  <a:srgbClr val="FFFFFF"/>
                </a:solidFill>
              </a:rPr>
              <a:pPr/>
              <a:t>1,6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2AEA264-45DD-6ADD-E6AD-1469C2F2F105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4875213" y="41052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0A2D7A-9FD7-4134-B75D-BCB7853E0E91}" type="datetime'''''''''''1'',3''''''''''''''''''''''''2''0'''''''">
              <a:rPr lang="en-GB" altLang="en-US" sz="1200" smtClean="0">
                <a:solidFill>
                  <a:srgbClr val="FFFFFF"/>
                </a:solidFill>
              </a:rPr>
              <a:pPr/>
              <a:t>1,32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824038" y="161607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336CE3C-FB66-43B7-B84B-A800C61D5660}" type="datetime'''1''''''''''''4'''''''''''''''''''''''''''',''''8''0''0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4CEC8C77-9EC5-6474-FCEB-4AB81B451E3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9388475" y="39179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0E4933-649F-4575-86FF-137F2CDA7EE3}" type="datetime'''''''''''''1'''''''',''3''''''''''''50'">
              <a:rPr lang="en-GB" altLang="en-US" sz="1200" smtClean="0">
                <a:solidFill>
                  <a:srgbClr val="FFFFFF"/>
                </a:solidFill>
              </a:rPr>
              <a:pPr/>
              <a:t>1,35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4875213" y="38639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88C00C-8318-42BB-B13A-7483640ABD86}" type="datetime'''2'''''''',''''''''''8''''''5''''''''''5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380163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DDE1954-DBD2-42E9-BDD7-1E8A5DD7CB57}" type="datetime'''''''1,''''''''''''''4''''''''''2''''''''''0''''''''''''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7883525" y="41338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D82135-2333-46EF-BF56-231B3A6526D6}" type="datetime'''1'''',''''''''''''''4''''''''''''2''''''''''''5''''''''''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9388475" y="36734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C1351C-3C47-4CAC-9FF4-3D4E6D4DE0B7}" type="datetime'''3'''',''''''''''8''''''''''''7''0''''''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10891838" y="38957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8E4D137-337F-44DA-8244-0FCF0922A7C5}" type="datetime'''''''''''2'''',''''''68''''''''''''''''''8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371850" y="39370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9F89BB-CD6D-4FFB-A015-AC87B5D6D540}" type="datetime'''''''''''2,''4''''6''''''5''''''''''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327151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81157A-E6E8-4E8F-A175-37D91F3308BC}" type="datetime'''T''''''''o''''''''''''''''''''t''''''''a''l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4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414C5C-5CDE-42C5-B242-D2737901CEF4}" type="datetime'''''''''''Re''gi''''o''''''''''''''''''''''''n'''''''''' 2'">
              <a:rPr lang="en-GB" altLang="en-US" sz="1200" smtClean="0">
                <a:solidFill>
                  <a:srgbClr val="000000"/>
                </a:solidFill>
              </a:rPr>
              <a:pPr/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4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6860327-41E3-444F-A076-021546738434}" type="datetime'''''R''''''e''''''''''''''''''''''''gi''''''''''on'''''' 3'">
              <a:rPr lang="en-GB" altLang="en-US" sz="1200" smtClean="0">
                <a:solidFill>
                  <a:srgbClr val="000000"/>
                </a:solidFill>
              </a:rPr>
              <a:pPr/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2830512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3F8BDE0-AFA4-4DA2-B2A3-10C71774699B}" type="datetime'''R''''eg''i''''''''o''''''''''''n'' ''''''''''1'''">
              <a:rPr lang="en-GB" altLang="en-US" sz="1200" smtClean="0">
                <a:solidFill>
                  <a:srgbClr val="000000"/>
                </a:solidFill>
              </a:rPr>
              <a:pPr/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343776" y="4702175"/>
            <a:ext cx="1503363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2FA50E9-1D0A-4FF9-8BC4-87B6B6F54052}" type="datetime'''''''R''''''''''''egi''''o''''''n'' ''''4'">
              <a:rPr lang="en-GB" altLang="en-US" sz="1200" smtClean="0">
                <a:solidFill>
                  <a:srgbClr val="000000"/>
                </a:solidFill>
              </a:rPr>
              <a:pPr/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330201" y="4975225"/>
            <a:ext cx="250031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C9D171B-BEC4-4838-8BD8-752DBC7AC5CE}" type="datetime'''''''A''l''''''''''i''gnm''''''ent l''ev''''''''''e''''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8847137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220101-F65E-46EA-A313-B0BFCA46D387}" type="datetime'R''''''''''''''eg''''i''''''''o''''''''''''''n'''' 5'''''">
              <a:rPr lang="en-GB" altLang="en-US" sz="1200" smtClean="0">
                <a:solidFill>
                  <a:srgbClr val="000000"/>
                </a:solidFill>
              </a:rPr>
              <a:pPr/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0352088" y="4702175"/>
            <a:ext cx="1504950" cy="273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07378D-097B-4B2D-9FBF-F895C45DB708}" type="datetime'''R''e''''''g''''''io''''''''''''''''''''''''''''''n'' ''6'''">
              <a:rPr lang="en-GB" altLang="en-US" sz="1200" smtClean="0">
                <a:solidFill>
                  <a:srgbClr val="000000"/>
                </a:solidFill>
              </a:rPr>
              <a:pPr/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327151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D00C4C0-EFCA-4644-9ED7-ADB17DB94EA1}" type="datetime'''''''''5''''''''0'''''' ''''''''''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2830512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682F91-2226-4651-96FE-FA3CCCD07006}" type="datetime'''''''''''''''''''''24''''''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4335464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41308C-FAEC-4C31-ABFF-D2F4031732A8}" type="datetime'''''''''''''''''7''''''5'''''''''''''' 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838824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90AF7F-83FF-472E-8D07-5DD6BF4A2D65}" type="datetime'''''''''''''1''''''''''''9'''''''''''' 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343776" y="4975225"/>
            <a:ext cx="1503363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BE9D71-D2E7-415D-8D0B-43D4F9D23B1D}" type="datetime'''''0'''''''''''''''''''''' 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8847137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080316-E38E-4F6B-84E2-A7DBF00A79B4}" type="datetime'7''6'''' 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0352088" y="4975225"/>
            <a:ext cx="15049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51D46C-D2E5-497C-9483-DD2ADB7EA5C1}" type="datetime'''''''''5''''''''''''''''''''5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167" name="btfpRunningAgenda1Level573689">
            <a:extLst>
              <a:ext uri="{FF2B5EF4-FFF2-40B4-BE49-F238E27FC236}">
                <a16:creationId xmlns:a16="http://schemas.microsoft.com/office/drawing/2014/main" id="{80DB2F75-506E-867B-1D0F-6E435879BDD0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168" name="btfpRunningAgenda1LevelBarLeft573689">
              <a:extLst>
                <a:ext uri="{FF2B5EF4-FFF2-40B4-BE49-F238E27FC236}">
                  <a16:creationId xmlns:a16="http://schemas.microsoft.com/office/drawing/2014/main" id="{3D9A264A-A0AD-416A-148B-6CF89CCAC30B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69" name="btfpRunningAgenda1LevelTextLeft573689">
              <a:extLst>
                <a:ext uri="{FF2B5EF4-FFF2-40B4-BE49-F238E27FC236}">
                  <a16:creationId xmlns:a16="http://schemas.microsoft.com/office/drawing/2014/main" id="{3ED0049B-5780-792A-712C-B32CBB11C892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70" name="btfpBulletedList845831">
            <a:extLst>
              <a:ext uri="{FF2B5EF4-FFF2-40B4-BE49-F238E27FC236}">
                <a16:creationId xmlns:a16="http://schemas.microsoft.com/office/drawing/2014/main" id="{2AF44677-C672-47EF-BD21-EEBB58D79537}"/>
              </a:ext>
            </a:extLst>
          </p:cNvPr>
          <p:cNvSpPr/>
          <p:nvPr/>
        </p:nvSpPr>
        <p:spPr bwMode="gray">
          <a:xfrm>
            <a:off x="8954100" y="0"/>
            <a:ext cx="3237900" cy="157061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5" name="Text Placeholder">
            <a:extLst>
              <a:ext uri="{FF2B5EF4-FFF2-40B4-BE49-F238E27FC236}">
                <a16:creationId xmlns:a16="http://schemas.microsoft.com/office/drawing/2014/main" id="{D57F9901-F8DD-02FC-5177-224355B31EDB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30200" y="5341938"/>
            <a:ext cx="250031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5852BF9-A997-41BA-A574-B134D45E0F10}" type="datetime'''''''''#'' ''o''f ''Po''''''''rtC''''o''''s''''''''''''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5888EA2E-8483-59B4-09E3-F03B4979FD7B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DB36ED8-CD1F-4D07-A35E-6BBF6559A03C}" type="datetime'I''nve''''s''t''ed'''''''' c''ap''''''i''tal'' ''''''($''b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F286EDFF-2AAD-8C90-01E9-459F4E34BF02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1327150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41F4D9-159C-4232-B298-ACCCBFDFD6C4}" type="datetime'''''''1''''''''''''''''''''0''''''''''''''''''''''''''0''''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5F43AB53-88DC-C1F2-C663-0675EC6DDACC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2830513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7D6131-F71B-4804-BAEB-CB5514F7A4FD}" type="datetime'''2''''6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4C5E7CB8-6909-57A8-9A24-B85CB99C037B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4335463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F25952-2DB6-484D-82B9-4435FFF47499}" type="datetime'''''''''1''''''''''''''''''''''4''''''''''''''''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CB7AA60D-F754-D7C3-90BD-0BB5DF100D6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5838825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B1945C3-0B54-4748-B47E-5E0247DDCB37}" type="datetime'''''''''''1''''''''''''''''''''''''''6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03C85492-70C3-F2C8-6127-712639BAAD73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7343775" y="5341938"/>
            <a:ext cx="1503363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483FF21-C1A1-4840-9B6B-ACCB31716ED0}" type="datetime'''''''''''''''''''''''''1''''''''''''''''8''''''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A2C22B41-B87F-BCFE-424C-C12D8065E171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884713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80EFC7-6681-40EB-BB40-585E5A83C364}" type="datetime'''''''''''1''''''''''''''''4''''''''''''''''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8CD8352-97FE-178B-784E-F8B24E6552C5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10352088" y="5341938"/>
            <a:ext cx="15049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3013EAA-7C48-4255-A3F8-B6C306BE983C}" type="datetime'''''''''''1''''''''''''''''''''''''''2''''''''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FB227965-B389-9CBF-ED57-36E56FF3EFB7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F9A58FB-A9C9-4F05-BE74-7A0E55A68805}" type="datetime'''9''''''''''''''''.''''''''''''''0''''''''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E8FAB797-AC33-176C-4E12-AF141E40AE1F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4411622-327B-4084-80C3-45DD5F71D567}" type="datetime'1''''.''''''''''0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8D1CD0B4-00B4-197C-CEEB-B6374FA4E77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0DD90BB-AD86-4E95-8EA3-214BCC97B764}" type="datetime'''''''''''''2''''''''''''''''''''''''''.''''0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E6E27C1B-46A9-DACA-8602-6ACC6FCD4958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5D466C-A591-4CE3-909C-B71BC442C740}" type="datetime'''''''''''''1''''.''''''''''''''''''''''''0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0E689FF3-4A6A-0ACE-D479-5511091F0996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22FA07F-9369-4B15-9E70-45B0E16BA029}" type="datetime'''''''''1''''''''.0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82321AA3-22C5-D24A-7BC2-49C96C333ECB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2CE881-A499-4CE0-808E-4123AC8390CB}" type="datetime'''''''''''''''''''''''''''''''''''''''''3''.0''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4473381A-57C0-ABCA-D8E6-3E49EE7738C3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5A4552-A9E8-410F-A887-B30911721F49}" type="datetime'2''''''''''''''.''''''''''''''''''''''0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14A83ADA-C0DE-8C83-378F-C1A78B3E0347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0</a:t>
            </a:r>
          </a:p>
        </p:txBody>
      </p:sp>
      <p:sp>
        <p:nvSpPr>
          <p:cNvPr id="19" name="btfpNotesBox623158">
            <a:extLst>
              <a:ext uri="{FF2B5EF4-FFF2-40B4-BE49-F238E27FC236}">
                <a16:creationId xmlns:a16="http://schemas.microsoft.com/office/drawing/2014/main" id="{89946532-A7A5-C4F5-B920-64059060AE4B}"/>
              </a:ext>
            </a:extLst>
          </p:cNvPr>
          <p:cNvSpPr txBox="1"/>
          <p:nvPr>
            <p:custDataLst>
              <p:tags r:id="rId8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0168797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1437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5" imgW="484" imgH="486" progId="TCLayout.ActiveDocument.1">
                  <p:embed/>
                </p:oleObj>
              </mc:Choice>
              <mc:Fallback>
                <p:oleObj name="think-cell Slide" r:id="rId65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invested capital</a:t>
            </a:r>
          </a:p>
        </p:txBody>
      </p: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34B22E29-DBDC-4862-C8ED-3260DBFB3C4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168762837"/>
              </p:ext>
            </p:extLst>
          </p:nvPr>
        </p:nvGraphicFramePr>
        <p:xfrm>
          <a:off x="1574800" y="1519238"/>
          <a:ext cx="103647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7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2938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ABA48F8-2F5B-40B6-B8B7-F253DEF41C3B}" type="datetime'0'''''''' ''''''''''''''''''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DF6F04BA-3328-966B-1D25-C9C44AEDB3F8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2096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65630C3-768B-44F9-ACDE-5883F2927E4C}" type="datetime'''''''2''''''''0''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5C21ED44-156E-7745-669A-012C2723CDC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2096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F8D81E1-E52B-4448-A166-4B1B1B83AC3D}" type="datetime'''4''''''''''''''''0'' 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83956A0F-A102-2405-62E0-DB8F40795F9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2096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1D09EF-8192-44E5-B2DC-2539DA09EBCA}" type="datetime'''''''6''0''''''''''''''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7204F606-6FC0-A213-322E-300A193270BE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2096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194891B-A65A-4A20-BFAA-7A250E4F84B4}" type="datetime'''''''''''8''''''''''''''''''''0'' 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1255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7A40766-D397-4EAC-B9B9-83852AE8A2DE}" type="datetime'''1''''0''''''''''''''''''''''0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01FBDB97-8C25-B1D7-B423-D9E51706FE5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714625" y="4370389"/>
            <a:ext cx="95250" cy="60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CC12D936-626E-FC21-0442-4F60563D3904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629275" y="4370389"/>
            <a:ext cx="95250" cy="746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C719B79A-30A7-E401-9730-35D791A11AD1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629275" y="4187825"/>
            <a:ext cx="95250" cy="1492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629275" y="4097339"/>
            <a:ext cx="95250" cy="1254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5629275" y="3822700"/>
            <a:ext cx="95250" cy="88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9999663" y="4370388"/>
            <a:ext cx="95250" cy="101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gray">
          <a:xfrm flipH="1">
            <a:off x="11456988" y="4370387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1125538" y="1390650"/>
            <a:ext cx="40036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invested capital, 2023 (%)</a:t>
            </a:r>
          </a:p>
        </p:txBody>
      </p:sp>
      <p:sp>
        <p:nvSpPr>
          <p:cNvPr id="253" name="Text Placeholder">
            <a:extLst>
              <a:ext uri="{FF2B5EF4-FFF2-40B4-BE49-F238E27FC236}">
                <a16:creationId xmlns:a16="http://schemas.microsoft.com/office/drawing/2014/main" id="{429DFBEB-C446-8A18-E2A4-90B2E6EE3826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2233612" y="418147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4F3F38A-9EF8-4C5F-B84E-A9E04881DF9E}" type="datetime'''''''''''''''''''''''''''''''''''''''''''7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4" name="Text Placeholder">
            <a:extLst>
              <a:ext uri="{FF2B5EF4-FFF2-40B4-BE49-F238E27FC236}">
                <a16:creationId xmlns:a16="http://schemas.microsoft.com/office/drawing/2014/main" id="{F3A68C9F-9245-7F87-02EF-6FDE84DB4C59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190750" y="36861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B285BCA-43FF-4892-ADC8-BE8C8BE02952}" type="datetime'''''''''''''''''''''''''''''''''''1''''''''''''4'' 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5" name="Text Placeholder">
            <a:extLst>
              <a:ext uri="{FF2B5EF4-FFF2-40B4-BE49-F238E27FC236}">
                <a16:creationId xmlns:a16="http://schemas.microsoft.com/office/drawing/2014/main" id="{446BB2BC-A47D-16EC-D45E-1F5F20340F87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648075" y="38735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4CC664-6116-4D2F-A019-1AFB0C6E4E6C}" type="datetime'''''''''''''''''''''''''''''''1''''''''''''''''''4'''' 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6" name="Text Placeholder">
            <a:extLst>
              <a:ext uri="{FF2B5EF4-FFF2-40B4-BE49-F238E27FC236}">
                <a16:creationId xmlns:a16="http://schemas.microsoft.com/office/drawing/2014/main" id="{B07989F4-6566-7CE5-5ACA-BE51EF82195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648075" y="3087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4D9672-187D-431A-9CED-9E7B7058DD43}" type="datetime'''1''''''''''''''''8'''''''''''''' ''''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B88D8B6D-5887-C99D-4FD9-FE33CD1865E7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561138" y="3881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3E2BC5-ABA7-4EC6-AA9F-5BEEA16082AC}" type="datetime'''''''''1''''4'''''''' ''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CC528088-2EA0-7218-A190-8488834F22C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561138" y="30416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3221766-E7B1-4153-8D2F-B7682C0A177E}" type="datetime'''''''''''''''1''6'''' 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CB5BB3D7-9C60-1E3F-6321-DC5B826D1D8C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8018463" y="38020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5BA1A5C-4EAA-4430-A361-BC679772E105}" type="datetime'''3''''''''''''''''''''''''0'''''''''''''' 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ADE64C5D-0A4B-3CF0-582C-6A580BEE8AE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8018463" y="24082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0E88EA2-4644-4A98-A936-D17F77732A13}" type="datetime'''''''''''''''''''''''''1''''''''''''6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AFA4E8E9-CE03-E7F4-E4D0-8A350AA4410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9482138" y="422116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422ECC-50FE-4152-918D-2DAEFAC96F2A}" type="datetime'''''''''''''1''''''''''''''''1 %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C971FA48-AEF4-A395-F33B-3020E7815F3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10933113" y="40894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CC50E6A-3A45-4782-9EFF-DAC027145537}" type="datetime'2''''''''''''''0'''' ''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65735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5ECD96-9A15-4E1C-81D1-D5C0C8DD2267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4572000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B80CE27-1621-45D7-92B1-75DFAAA48344}" type="datetime'''Re''''''''''''''''''g''''i''''''''o''n'''''''''' ''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029324" y="4579938"/>
            <a:ext cx="14557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8BBCD5-3F7E-405F-B62A-A231A9E7F739}" type="datetime'''R''eg''io''''''n'''''''' ''''''''''''''''3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114675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E07001-2CA9-4786-A820-03B2EE6227E7}" type="datetime'''''''''''''R''''e''''''''g''i''o''''''n'''''''''''' ''1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48506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F1B3AD3-BB5F-480D-BBF5-6136382E8C38}" type="datetime'R''e''''''''''''g''''''''''''i''''''o''n'''''' ''''''4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4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66060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25578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0785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0785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0596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0785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43651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0785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43651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0785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43651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330200" y="4854576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0785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43651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0785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8942388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A27D22-B432-4E36-83EB-04814D344637}" type="datetime'''Re''''''''''''''g''io''''''n'''''''''''''''' 5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399713" y="4579938"/>
            <a:ext cx="14573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2E08C4-E6EC-4F3B-8ECB-CD4BA972BFD5}" type="datetime'Re''''''''''''''''''''gi''''''''''o''''n'''''''' ''''''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65735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E88290-3683-4271-986E-4D99E37DD0E7}" type="datetime'''5''2''''''''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114675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F8A506-CCC8-4262-A464-C84B3CBFDC4E}" type="datetime'2''''''''''''4'''''''''''''''''''''''' 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4572000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C4E1C9-1C78-4B67-AC33-FC33D2F5CE6E}" type="datetime'''''7''''6''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029324" y="4854576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E021DB-25A0-4585-91DE-A0337E625270}" type="datetime'''''''1''9'''''''''''''''' 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748506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4FCE36-C8B1-4999-AA61-590EB1766871}" type="datetime'''''''''0''''''''''''''''''''''''''''''''''''''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8942388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E39409-98AC-42C6-A531-5A5B9F377EAB}" type="datetime'''''''7''''''''''''''''''7 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10399713" y="4854576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6668F08-E54A-4841-8242-6BA032F07534}" type="datetime'''''''''''''''''6''''''''''''''2''''''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11467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67" name="btfpBulletedList131992">
            <a:extLst>
              <a:ext uri="{FF2B5EF4-FFF2-40B4-BE49-F238E27FC236}">
                <a16:creationId xmlns:a16="http://schemas.microsoft.com/office/drawing/2014/main" id="{26D697C6-468D-7EB1-A68A-B87DE084BCA3}"/>
              </a:ext>
            </a:extLst>
          </p:cNvPr>
          <p:cNvSpPr/>
          <p:nvPr/>
        </p:nvSpPr>
        <p:spPr bwMode="gray">
          <a:xfrm>
            <a:off x="8954100" y="0"/>
            <a:ext cx="3237900" cy="14909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171" name="btfpRunningAgenda1Level573689">
            <a:extLst>
              <a:ext uri="{FF2B5EF4-FFF2-40B4-BE49-F238E27FC236}">
                <a16:creationId xmlns:a16="http://schemas.microsoft.com/office/drawing/2014/main" id="{7B37D1D5-D029-9B87-C0C2-9114B96E3ADA}"/>
              </a:ext>
            </a:extLst>
          </p:cNvPr>
          <p:cNvGrpSpPr/>
          <p:nvPr>
            <p:custDataLst>
              <p:tags r:id="rId45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172" name="btfpRunningAgenda1LevelBarLeft573689">
              <a:extLst>
                <a:ext uri="{FF2B5EF4-FFF2-40B4-BE49-F238E27FC236}">
                  <a16:creationId xmlns:a16="http://schemas.microsoft.com/office/drawing/2014/main" id="{26F22A3F-92D6-F5FD-07E8-68F0A271C42B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73" name="btfpRunningAgenda1LevelTextLeft573689">
              <a:extLst>
                <a:ext uri="{FF2B5EF4-FFF2-40B4-BE49-F238E27FC236}">
                  <a16:creationId xmlns:a16="http://schemas.microsoft.com/office/drawing/2014/main" id="{968DE291-1697-5587-FEF4-283A509AC77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D4B0D7B1-9457-1768-EB95-A5B1E81DCD3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330200" y="5219700"/>
            <a:ext cx="27844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2260FCC-558B-4AD5-A4AA-404C415829DB}" type="datetime'''''# ''''''o''f'''' ''''''''''''P''o''r''''''t''Cos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BDDA8200-6BAD-0C60-6D05-E98865585A3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65735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BE9147-2C0A-4085-9EE9-E9EFBFBA507C}" type="datetime'''''''''''''1''''''''''0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20808BB-5A1A-D8BE-0B91-F0042130853A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3114675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ECA58A-7870-40C2-B70E-C880C0579962}" type="datetime'''''2''''''''''''''''''''''''''''''''''''''''''''''6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922466E4-FBA3-E956-6EF8-6E2770F89D2E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4572000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8B553E-6F8C-4233-89E1-66AF0693CFE8}" type="datetime'''''1''''''''''''''''''''4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663D34FD-7701-B2AB-ABA4-2484CCD4867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6029324" y="5219700"/>
            <a:ext cx="14557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C8FE9D-D53D-4798-928B-180BF9147975}" type="datetime'''''''''''''''''''''''1''''''6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608CD9D2-918E-9D46-7C15-841A91DDA5F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748506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2337E16-7925-457A-88DB-55F8A5881EEA}" type="datetime'''''''''''''''''''''''1''''8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35651F2-B300-77F1-B7AC-9A533463E826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8942388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2472B0-EE77-44FD-BB1E-09EE4E38C144}" type="datetime'''''''''''1''''4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949ACA9D-090A-CC9F-E2D0-F23AF7F9FFF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10399713" y="5219700"/>
            <a:ext cx="14573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3A98FE-9EB5-46D8-8A36-C78A4215CDCF}" type="datetime'1''''''''''''2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7A86FBA-4DBE-8DD4-5D1C-984BAD53A751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330200" y="5584825"/>
            <a:ext cx="27844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C61FEAA-EE22-4A2E-83C7-9FCEE2CD76E1}" type="datetime'Fi''n''anc''''''e''d ''e''mi''ss''ion''s'''' ''''(''''''%''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3F67525-DEAF-3E56-F3EA-65CE54D38B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165735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F3D75-A77E-47BD-AF44-57D145264DC1}" type="datetime'''''''''''''''1''''''''0''''''''0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A8401822-766D-9ED3-43E4-5B6892477E49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3114675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EC70F2-8876-4F79-B7A4-B2366A88C1BF}" type="datetime'''''''''1''''''''''7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1A743EE1-4FCA-8C41-1DD6-8C6EC9CD7B6D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4572000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D72BDEC-DC5B-4A99-8FDF-D4A7AB73DF2C}" type="datetime'''''''''''''1''''''''''9'''' 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82C3EC1B-E4C7-ED0C-70C1-243E168DDDE0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029324" y="5584825"/>
            <a:ext cx="14557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EF20C1-E49A-4FAA-B086-65D664E79786}" type="datetime'''''''1''''''''0'''''' %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F3309BF-6695-7FA2-874A-756F9616E82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748506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C0ADBC-4993-415A-A9B2-A076D2D326FA}" type="datetime'''1''0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4703C05B-6E88-E509-6A9C-2C14789BB61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8942388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DF925D-7B37-4321-B9E4-0F4C1189A56E}" type="datetime'''''2''''''''''''''''''6'''''''''''''''''' 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86168203-0D44-508C-5F61-BD0F4A365724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399713" y="5584825"/>
            <a:ext cx="14573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7D957A-EC9A-4C81-8AF8-03BC88E82093}" type="datetime'''''1''''8'''''''''''''''''''''''''' 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7B05EC88-A7C7-A364-02C1-F1E380BAAD68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D32C3B35-5BDF-AF0F-3712-49867B714D51}"/>
              </a:ext>
            </a:extLst>
          </p:cNvPr>
          <p:cNvSpPr txBox="1"/>
          <p:nvPr>
            <p:custDataLst>
              <p:tags r:id="rId6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179982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909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6" imgW="484" imgH="486" progId="TCLayout.ActiveDocument.1">
                  <p:embed/>
                </p:oleObj>
              </mc:Choice>
              <mc:Fallback>
                <p:oleObj name="think-cell Slide" r:id="rId126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invested capital</a:t>
            </a: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0CF8AA74-933C-78CE-1B03-6B2EACCFC05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1" name="Chart 80">
            <a:extLst>
              <a:ext uri="{FF2B5EF4-FFF2-40B4-BE49-F238E27FC236}">
                <a16:creationId xmlns:a16="http://schemas.microsoft.com/office/drawing/2014/main" id="{C1A4BF3A-D8D6-601C-5314-EBCB5940F441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29846017"/>
              </p:ext>
            </p:extLst>
          </p:nvPr>
        </p:nvGraphicFramePr>
        <p:xfrm>
          <a:off x="2127250" y="1703388"/>
          <a:ext cx="9812338" cy="2867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8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024063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23C02F6-3A78-495B-B583-B2E9F3788631}" type="datetime'''''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BC409BCB-B44C-1379-5CEE-EC46E6D6CD5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24063" y="38576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D6B00F0-F6C8-478F-AB76-5D2C4D58C283}" type="datetime'''''''''''''2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498229F-ED6B-EE25-BF91-AD184E957E5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24063" y="331628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604C9B1-06B3-44CF-A2CD-8B57B4815B1A}" type="datetime'''''''''''''''''''''''''''''''''''''''4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514830BE-0927-9940-020F-3E7A470DE29B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24063" y="27765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252B2BC-D9A5-43EB-963A-DF70FBBF1CE6}" type="datetime'''''''6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E42E107C-BA4E-C5E4-AFD6-AC572E52A14C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024063" y="22352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2F7C4D-7972-4C64-94C3-F1C95C6F7BD2}" type="datetime'''''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DC5EA129-D2AC-6163-4197-5CC746F3BC7F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939926" y="1695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31DF86-FB11-4DB4-B4D5-41461F076136}" type="datetime'''''''''''''''1''''''''''''''0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C27C700F-BB08-3EBA-9C07-C964E94A319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5961063" y="3732212"/>
            <a:ext cx="95250" cy="5651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E6B15C7F-5C10-8B54-034E-6DE2397473F8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3205163" y="4370387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EDF09925-C3DF-3D2E-AABF-DD8F473D179F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4583113" y="3914775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9" name="Straight Connector 258">
            <a:extLst>
              <a:ext uri="{FF2B5EF4-FFF2-40B4-BE49-F238E27FC236}">
                <a16:creationId xmlns:a16="http://schemas.microsoft.com/office/drawing/2014/main" id="{BBD26DBA-B849-0E2E-7E89-DDC0E43C5A8B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>
            <a:off x="3205163" y="4187825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5961063" y="4097338"/>
            <a:ext cx="95250" cy="3397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4A6C78CE-9418-C5CC-3065-ED6490D07296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4583113" y="3732213"/>
            <a:ext cx="95250" cy="4857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C3D105D8-87D0-8332-1127-31D595E7BAE2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73406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883551C7-E90D-4032-CA3A-7779368EC98C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4583113" y="3549649"/>
            <a:ext cx="95250" cy="584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F7520910-6866-185D-46F4-333567405527}"/>
              </a:ext>
            </a:extLst>
          </p:cNvPr>
          <p:cNvCxnSpPr>
            <a:cxnSpLocks/>
          </p:cNvCxnSpPr>
          <p:nvPr>
            <p:custDataLst>
              <p:tags r:id="rId20"/>
            </p:custDataLst>
          </p:nvPr>
        </p:nvCxnSpPr>
        <p:spPr bwMode="gray">
          <a:xfrm flipH="1">
            <a:off x="5961063" y="3914775"/>
            <a:ext cx="95250" cy="4635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6" name="Straight Connector 175">
            <a:extLst>
              <a:ext uri="{FF2B5EF4-FFF2-40B4-BE49-F238E27FC236}">
                <a16:creationId xmlns:a16="http://schemas.microsoft.com/office/drawing/2014/main" id="{9EBADF9C-724D-0A16-2AE4-8812C3E78E79}"/>
              </a:ext>
            </a:extLst>
          </p:cNvPr>
          <p:cNvCxnSpPr>
            <a:cxnSpLocks/>
          </p:cNvCxnSpPr>
          <p:nvPr>
            <p:custDataLst>
              <p:tags r:id="rId21"/>
            </p:custDataLst>
          </p:nvPr>
        </p:nvCxnSpPr>
        <p:spPr bwMode="gray">
          <a:xfrm flipH="1">
            <a:off x="5961063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6" name="Straight Connector 105">
            <a:extLst>
              <a:ext uri="{FF2B5EF4-FFF2-40B4-BE49-F238E27FC236}">
                <a16:creationId xmlns:a16="http://schemas.microsoft.com/office/drawing/2014/main" id="{8672ECDC-7EA4-3826-8008-0130D35FC17B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 flipH="1">
            <a:off x="4583113" y="4370388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38652FCF-8699-09A0-11AF-42DA840D6083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7340600" y="4279899"/>
            <a:ext cx="95250" cy="165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CCB0398E-5EF4-4E91-A982-B34644E13A21}"/>
              </a:ext>
            </a:extLst>
          </p:cNvPr>
          <p:cNvCxnSpPr>
            <a:cxnSpLocks/>
          </p:cNvCxnSpPr>
          <p:nvPr>
            <p:custDataLst>
              <p:tags r:id="rId24"/>
            </p:custDataLst>
          </p:nvPr>
        </p:nvCxnSpPr>
        <p:spPr bwMode="gray">
          <a:xfrm flipH="1">
            <a:off x="4583113" y="4279900"/>
            <a:ext cx="95250" cy="130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5" name="Straight Connector 264">
            <a:extLst>
              <a:ext uri="{FF2B5EF4-FFF2-40B4-BE49-F238E27FC236}">
                <a16:creationId xmlns:a16="http://schemas.microsoft.com/office/drawing/2014/main" id="{33DC2371-1AAF-5FFB-ED47-F28302A6DBD8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 flipH="1">
            <a:off x="5961063" y="4279900"/>
            <a:ext cx="95250" cy="1793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E6B7EA51-57C1-C0C4-0DA5-F3C45BABC4C5}"/>
              </a:ext>
            </a:extLst>
          </p:cNvPr>
          <p:cNvCxnSpPr>
            <a:cxnSpLocks/>
          </p:cNvCxnSpPr>
          <p:nvPr>
            <p:custDataLst>
              <p:tags r:id="rId26"/>
            </p:custDataLst>
          </p:nvPr>
        </p:nvCxnSpPr>
        <p:spPr bwMode="gray">
          <a:xfrm flipH="1">
            <a:off x="7340600" y="4097338"/>
            <a:ext cx="95250" cy="3143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98A94B88-E138-16B6-5B99-0AF9C375E075}"/>
              </a:ext>
            </a:extLst>
          </p:cNvPr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 flipH="1">
            <a:off x="7340600" y="3914775"/>
            <a:ext cx="95250" cy="460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1C65781A-827D-8B5D-F2B1-4F41FCD645C1}"/>
              </a:ext>
            </a:extLst>
          </p:cNvPr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 flipH="1">
            <a:off x="7340600" y="3732213"/>
            <a:ext cx="95250" cy="598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8E53FB82-7B3E-49CE-10FB-17A0DC074FAE}"/>
              </a:ext>
            </a:extLst>
          </p:cNvPr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 flipH="1">
            <a:off x="7340600" y="3549650"/>
            <a:ext cx="95250" cy="735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03DE9BF7-810A-2448-614D-793A356ABCE2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8718550" y="4370388"/>
            <a:ext cx="95250" cy="1095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6EC880E3-24A0-4A83-BCA6-B8A04A228C00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8718550" y="4279900"/>
            <a:ext cx="95250" cy="1571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4EF0A1FE-E02A-BA61-CCEA-03BB1780DC89}"/>
              </a:ext>
            </a:extLst>
          </p:cNvPr>
          <p:cNvCxnSpPr>
            <a:cxnSpLocks/>
          </p:cNvCxnSpPr>
          <p:nvPr>
            <p:custDataLst>
              <p:tags r:id="rId32"/>
            </p:custDataLst>
          </p:nvPr>
        </p:nvCxnSpPr>
        <p:spPr bwMode="gray">
          <a:xfrm flipH="1">
            <a:off x="8718550" y="4097338"/>
            <a:ext cx="95250" cy="2730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8F332EEC-3F74-8CCF-7F4E-1EF5F6231DEE}"/>
              </a:ext>
            </a:extLst>
          </p:cNvPr>
          <p:cNvCxnSpPr>
            <a:cxnSpLocks/>
          </p:cNvCxnSpPr>
          <p:nvPr>
            <p:custDataLst>
              <p:tags r:id="rId33"/>
            </p:custDataLst>
          </p:nvPr>
        </p:nvCxnSpPr>
        <p:spPr bwMode="gray">
          <a:xfrm flipH="1">
            <a:off x="8718550" y="3914775"/>
            <a:ext cx="95250" cy="404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0C6539FA-5C78-D0CE-9FE4-E35AF351C734}"/>
              </a:ext>
            </a:extLst>
          </p:cNvPr>
          <p:cNvCxnSpPr>
            <a:cxnSpLocks/>
          </p:cNvCxnSpPr>
          <p:nvPr>
            <p:custDataLst>
              <p:tags r:id="rId34"/>
            </p:custDataLst>
          </p:nvPr>
        </p:nvCxnSpPr>
        <p:spPr bwMode="gray">
          <a:xfrm flipH="1">
            <a:off x="8718550" y="3732213"/>
            <a:ext cx="95250" cy="5492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gray">
          <a:xfrm flipH="1">
            <a:off x="1009650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909A320A-48FC-7BB5-FF38-1A36D7BFF675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gray">
          <a:xfrm flipH="1">
            <a:off x="10096500" y="4279900"/>
            <a:ext cx="95250" cy="1635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D7B43649-A4ED-54BD-60DE-E369A1CA8247}"/>
              </a:ext>
            </a:extLst>
          </p:cNvPr>
          <p:cNvCxnSpPr>
            <a:cxnSpLocks/>
          </p:cNvCxnSpPr>
          <p:nvPr>
            <p:custDataLst>
              <p:tags r:id="rId37"/>
            </p:custDataLst>
          </p:nvPr>
        </p:nvCxnSpPr>
        <p:spPr bwMode="gray">
          <a:xfrm flipH="1">
            <a:off x="4583113" y="4097338"/>
            <a:ext cx="95250" cy="2571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F8D7F866-FA10-D774-AB63-135B383771FB}"/>
              </a:ext>
            </a:extLst>
          </p:cNvPr>
          <p:cNvCxnSpPr>
            <a:cxnSpLocks/>
          </p:cNvCxnSpPr>
          <p:nvPr>
            <p:custDataLst>
              <p:tags r:id="rId38"/>
            </p:custDataLst>
          </p:nvPr>
        </p:nvCxnSpPr>
        <p:spPr bwMode="gray">
          <a:xfrm flipH="1">
            <a:off x="10096500" y="4097338"/>
            <a:ext cx="95250" cy="271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39"/>
            </p:custDataLst>
          </p:nvPr>
        </p:nvCxnSpPr>
        <p:spPr bwMode="gray">
          <a:xfrm flipH="1">
            <a:off x="11474450" y="4370388"/>
            <a:ext cx="95250" cy="1127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E5451E49-1545-3B84-9377-420E43C054A8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74450" y="4279900"/>
            <a:ext cx="95250" cy="1444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B4A791D2-6591-062B-7C7A-66BE8F087601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74450" y="4097338"/>
            <a:ext cx="95250" cy="2254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B0A2C80E-CF00-3819-8B49-4F1C739EA8DA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 flipH="1">
            <a:off x="11474450" y="3914775"/>
            <a:ext cx="95250" cy="292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0" name="Text Placeholder">
            <a:extLst>
              <a:ext uri="{FF2B5EF4-FFF2-40B4-BE49-F238E27FC236}">
                <a16:creationId xmlns:a16="http://schemas.microsoft.com/office/drawing/2014/main" id="{1949CEA9-AFDA-2902-840E-24B0BA230895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605631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83C122F-2EA3-4DEB-9FED-C7B31BD7A25C}" type="datetime'''''''''0''''''''''''''''''''''''''''.''''1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1" name="Text Placeholder">
            <a:extLst>
              <a:ext uri="{FF2B5EF4-FFF2-40B4-BE49-F238E27FC236}">
                <a16:creationId xmlns:a16="http://schemas.microsoft.com/office/drawing/2014/main" id="{7E43EBD4-3118-8BCD-FDD0-6DF7D688E3ED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605631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B2F3480-95E9-48D2-88A9-4993EE71FA9C}" type="datetime'0''''''.''5''''''''''''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2" name="Text Placeholder">
            <a:extLst>
              <a:ext uri="{FF2B5EF4-FFF2-40B4-BE49-F238E27FC236}">
                <a16:creationId xmlns:a16="http://schemas.microsoft.com/office/drawing/2014/main" id="{51DFFE0B-0BBB-C02D-FF17-7E78106E1952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5526088" y="40132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3CE24F-8FFB-4685-B4A3-A414410631CD}" type="datetime'''''''''''''''0''''''''''''''''''.9'''''''''">
              <a:rPr lang="en-GB" altLang="en-US" sz="1200" smtClean="0">
                <a:solidFill>
                  <a:srgbClr val="FFFFFF"/>
                </a:solidFill>
              </a:rPr>
              <a:pPr/>
              <a:t>0.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83" name="Text Placeholder">
            <a:extLst>
              <a:ext uri="{FF2B5EF4-FFF2-40B4-BE49-F238E27FC236}">
                <a16:creationId xmlns:a16="http://schemas.microsoft.com/office/drawing/2014/main" id="{22BEBBA6-7DCE-FF1D-4483-B010FD892ECA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74358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D9B1F3B-400E-48BD-9A58-29881969F7D7}" type="datetime'''''''''''''''0''''''.''''1''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4" name="Text Placeholder">
            <a:extLst>
              <a:ext uri="{FF2B5EF4-FFF2-40B4-BE49-F238E27FC236}">
                <a16:creationId xmlns:a16="http://schemas.microsoft.com/office/drawing/2014/main" id="{DF550A41-15E4-5D4E-E13D-7C6D9096B032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74358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7DE29A8-4A36-420D-873E-F79995D7FE50}" type="datetime'''''''''''''''''0''''''''''''''''''''''''.''1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5" name="Text Placeholder">
            <a:extLst>
              <a:ext uri="{FF2B5EF4-FFF2-40B4-BE49-F238E27FC236}">
                <a16:creationId xmlns:a16="http://schemas.microsoft.com/office/drawing/2014/main" id="{1AAE9BD3-1DEE-84B9-7F12-222FC89B6979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74358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8AAE311-50B8-42ED-B81B-02A5B1392229}" type="datetime'''''''''0''''''.''''''''''''''''''''1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1939925" y="1390650"/>
            <a:ext cx="40370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invested capital, 2023 ($b)</a:t>
            </a:r>
          </a:p>
        </p:txBody>
      </p:sp>
      <p:sp>
        <p:nvSpPr>
          <p:cNvPr id="286" name="Text Placeholder">
            <a:extLst>
              <a:ext uri="{FF2B5EF4-FFF2-40B4-BE49-F238E27FC236}">
                <a16:creationId xmlns:a16="http://schemas.microsoft.com/office/drawing/2014/main" id="{A591D51A-27FD-0149-F3C6-3ADB4E83C33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743585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1F4291D-EBB3-4F24-9158-C697E0008FC7}" type="datetime'0''''''''''''''''''.''''''''''''''''1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BB71EE64-E149-994A-B34B-B40D98D9F36B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33004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9D01F0C-0FD8-46F9-9ECC-BEFE88016008}" type="datetime'0''''''''''''.''''''''''''''''''''''''''4''''''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7" name="Text Placeholder">
            <a:extLst>
              <a:ext uri="{FF2B5EF4-FFF2-40B4-BE49-F238E27FC236}">
                <a16:creationId xmlns:a16="http://schemas.microsoft.com/office/drawing/2014/main" id="{EC0228A0-870A-A801-0D80-E96AD5306633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743585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6B73FA3-BFDB-4502-9734-86DA1035F45A}" type="datetime'''''''''''''''''0''''''.''''2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7" name="Text Placeholder">
            <a:extLst>
              <a:ext uri="{FF2B5EF4-FFF2-40B4-BE49-F238E27FC236}">
                <a16:creationId xmlns:a16="http://schemas.microsoft.com/office/drawing/2014/main" id="{7999756C-83F0-ABB4-6E3A-904A7F2FFE2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33004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A4C7917-BAAA-44C5-9801-8B95934BC3F6}" type="datetime'''''''''''''''''0''''.''''''7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8" name="Text Placeholder">
            <a:extLst>
              <a:ext uri="{FF2B5EF4-FFF2-40B4-BE49-F238E27FC236}">
                <a16:creationId xmlns:a16="http://schemas.microsoft.com/office/drawing/2014/main" id="{666F73E6-5E5B-670C-2F3B-8B5ABF175B7F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7435850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7BEA4E4-3FEE-47E6-921D-7235BCB2B467}" type="datetime'0''''''.''''''''''''''''''''''''''2''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F80E2E9F-18DC-576D-4260-9C364DF70405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2770188" y="4005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043FA5-02F1-48E7-9E4E-6E6B21B7FF81}" type="datetime'''''''''''''0''''''''''''''''''''.''''''''''''''''''''''7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9" name="Text Placeholder">
            <a:extLst>
              <a:ext uri="{FF2B5EF4-FFF2-40B4-BE49-F238E27FC236}">
                <a16:creationId xmlns:a16="http://schemas.microsoft.com/office/drawing/2014/main" id="{F12BB790-B2EE-8747-F060-E0BB9DD3B284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88138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6FFB3D4-18FE-4D84-8137-8E764317C864}" type="datetime'0''''''''''''''''''.''''''1''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1" name="Text Placeholder">
            <a:extLst>
              <a:ext uri="{FF2B5EF4-FFF2-40B4-BE49-F238E27FC236}">
                <a16:creationId xmlns:a16="http://schemas.microsoft.com/office/drawing/2014/main" id="{00C770FA-9052-CEAE-29A9-C25EB8D45384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2770188" y="372903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A3CE338-74FE-4650-8791-AF8E0AF8B608}" type="datetime'''''''1''''''''''''.''''''''4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0" name="Text Placeholder">
            <a:extLst>
              <a:ext uri="{FF2B5EF4-FFF2-40B4-BE49-F238E27FC236}">
                <a16:creationId xmlns:a16="http://schemas.microsoft.com/office/drawing/2014/main" id="{BB994E76-041E-EDE0-14B1-78D9D59C399C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8138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A1542E4-5005-4713-B53D-AB2747511936}" type="datetime'0''''''.''''''''''''''''3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5078C27A-FF7B-21A1-EA66-1000653A5E6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2770188" y="33639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069473-2B88-4E09-802B-BCEFFB519184}" type="datetime'''''''''''''''''''''''''''''''1.''4'''''''''''''''">
              <a:rPr lang="en-GB" altLang="en-US" sz="1200" smtClean="0">
                <a:solidFill>
                  <a:srgbClr val="000000"/>
                </a:solidFill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1" name="Text Placeholder">
            <a:extLst>
              <a:ext uri="{FF2B5EF4-FFF2-40B4-BE49-F238E27FC236}">
                <a16:creationId xmlns:a16="http://schemas.microsoft.com/office/drawing/2014/main" id="{115117AF-37C1-5060-2E8B-EB852AA0457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88138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B035FAE-7290-46F7-8263-D390A6497508}" type="datetime'''''''''''0''''''''''''.2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470337A6-8D55-D422-5C96-10BD8B589AAE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2770188" y="2843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DBBAC9-2057-402A-BC13-6E7C676FFFE3}" type="datetime'''''''''2''''''''''''''''''''''''''''''.''''''''''''''''5'">
              <a:rPr lang="en-GB" altLang="en-US" sz="1200" smtClean="0">
                <a:solidFill>
                  <a:srgbClr val="FFFFFF"/>
                </a:solidFill>
              </a:rPr>
              <a:pPr/>
              <a:t>2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2" name="Text Placeholder">
            <a:extLst>
              <a:ext uri="{FF2B5EF4-FFF2-40B4-BE49-F238E27FC236}">
                <a16:creationId xmlns:a16="http://schemas.microsoft.com/office/drawing/2014/main" id="{EA107B84-3E5D-17A6-F7E7-2207256D80C6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88138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24BC638-C89D-4DAD-A897-2D03D2F8A696}" type="datetime'''''''''''0''''''''.''1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74C9DC8F-D45D-C4AC-A9A7-F5F287E5E07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2770188" y="2181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9FF7CDF-FB89-4B30-91FB-94802E3E10E5}" type="datetime'''''''''2''''''''''''''''''''.''''''''''''''''''4'''''''">
              <a:rPr lang="en-GB" altLang="en-US" sz="1200" smtClean="0">
                <a:solidFill>
                  <a:srgbClr val="FFFFFF"/>
                </a:solidFill>
              </a:rPr>
              <a:pPr/>
              <a:t>2.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3" name="Text Placeholder">
            <a:extLst>
              <a:ext uri="{FF2B5EF4-FFF2-40B4-BE49-F238E27FC236}">
                <a16:creationId xmlns:a16="http://schemas.microsoft.com/office/drawing/2014/main" id="{0E6C2A96-6EAE-028E-441E-46ACA4FD7F50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8813800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C326F28-1968-4AE2-A28E-489618E8C736}" type="datetime'''''0''''''''''''''''''''''.''''2''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FA045BB1-A8C5-C258-4660-657755B0691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467836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36D5C14-820A-42FE-9644-50E6E481CF25}" type="datetime'''''''''''''''''0''''''''''''''''.''''''''''2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4" name="Text Placeholder">
            <a:extLst>
              <a:ext uri="{FF2B5EF4-FFF2-40B4-BE49-F238E27FC236}">
                <a16:creationId xmlns:a16="http://schemas.microsoft.com/office/drawing/2014/main" id="{3FD39D6D-302D-59D0-2067-83C07177B064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1019175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6A9651A-32B6-4057-993D-3302D1D86277}" type="datetime'''''''''''''''''0''''.''''''''''''''''''''0''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2" name="Text Placeholder">
            <a:extLst>
              <a:ext uri="{FF2B5EF4-FFF2-40B4-BE49-F238E27FC236}">
                <a16:creationId xmlns:a16="http://schemas.microsoft.com/office/drawing/2014/main" id="{7406C6C4-08E4-23C8-ED24-8F75AAAE44A0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467836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172CAB1-0B8F-44E4-B402-ED3BD1D82236}" type="datetime'''''''''''''''''''''''''''''0''''''''''''''''''''.''''''2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5" name="Text Placeholder">
            <a:extLst>
              <a:ext uri="{FF2B5EF4-FFF2-40B4-BE49-F238E27FC236}">
                <a16:creationId xmlns:a16="http://schemas.microsoft.com/office/drawing/2014/main" id="{246428C4-10CC-081A-F0C4-AAAA05E464F0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1019175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5FC8D1A-140C-4D64-9A44-6A4B2807C4AB}" type="datetime'''''''''''''''''''''0.''''3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3" name="Text Placeholder">
            <a:extLst>
              <a:ext uri="{FF2B5EF4-FFF2-40B4-BE49-F238E27FC236}">
                <a16:creationId xmlns:a16="http://schemas.microsoft.com/office/drawing/2014/main" id="{69C8E870-5B30-C335-12A7-C4E38402F1A9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467836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C10666B-E586-4F95-BDFC-355332364E34}" type="datetime'''''''''''''''''0''''''.2'''''''''''''''''''''''''">
              <a:rPr lang="en-GB" altLang="en-US" sz="1200" smtClean="0">
                <a:solidFill>
                  <a:srgbClr val="000000"/>
                </a:solidFill>
              </a:rPr>
              <a:pPr/>
              <a:t>0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4" name="Text Placeholder">
            <a:extLst>
              <a:ext uri="{FF2B5EF4-FFF2-40B4-BE49-F238E27FC236}">
                <a16:creationId xmlns:a16="http://schemas.microsoft.com/office/drawing/2014/main" id="{F8A44DE7-0DD1-35DE-2329-AB72CD63CB20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4678363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6D43A92-0DD2-411F-93BF-F2C872964766}" type="datetime'''''''''''''''''0''''''''''''''''.''''''''''''''''''''3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5" name="Text Placeholder">
            <a:extLst>
              <a:ext uri="{FF2B5EF4-FFF2-40B4-BE49-F238E27FC236}">
                <a16:creationId xmlns:a16="http://schemas.microsoft.com/office/drawing/2014/main" id="{454CF9ED-C6A9-F5AF-66F6-9C60DDB4C9C7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4678363" y="35496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D44CB7D-1280-42C1-AF93-82EC3C7A8213}" type="datetime'''''''''''''''''''''''''''0''''''''''''''.''3''''''''''''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7" name="Text Placeholder">
            <a:extLst>
              <a:ext uri="{FF2B5EF4-FFF2-40B4-BE49-F238E27FC236}">
                <a16:creationId xmlns:a16="http://schemas.microsoft.com/office/drawing/2014/main" id="{48EAC2B4-C8C6-3233-A190-8BD14F71CDD1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9661525" y="41068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C371FF-3C21-43F7-A2C9-DC2764B4435A}" type="datetime'''''1''''''''''.''''''''''''''''''''0''''''''''''''''''''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8" name="Text Placeholder">
            <a:extLst>
              <a:ext uri="{FF2B5EF4-FFF2-40B4-BE49-F238E27FC236}">
                <a16:creationId xmlns:a16="http://schemas.microsoft.com/office/drawing/2014/main" id="{7FDEDCA4-05F1-8E8C-00F9-C8992CE3859B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9661525" y="3843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CBCAA4-38D8-4826-AFD2-1C450A5E09E1}" type="datetime'''''''''''''''''1.''''''''''''''''''''''''''''''''''''''''0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99" name="Text Placeholder">
            <a:extLst>
              <a:ext uri="{FF2B5EF4-FFF2-40B4-BE49-F238E27FC236}">
                <a16:creationId xmlns:a16="http://schemas.microsoft.com/office/drawing/2014/main" id="{B26999FE-6C05-6879-6DE8-3052271D7C87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11569700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3D502DA-6FF4-4DCB-A089-BC67F53ADD21}" type="datetime'''''''''''''''''''''''''''''''''''''''''''''''0''.''''''0'''">
              <a:rPr lang="en-GB" altLang="en-US" sz="1200" smtClean="0">
                <a:solidFill>
                  <a:srgbClr val="000000"/>
                </a:solidFill>
              </a:rPr>
              <a:pPr/>
              <a:t>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6" name="Text Placeholder">
            <a:extLst>
              <a:ext uri="{FF2B5EF4-FFF2-40B4-BE49-F238E27FC236}">
                <a16:creationId xmlns:a16="http://schemas.microsoft.com/office/drawing/2014/main" id="{8DA42BCB-CFF0-E549-BD93-B98D9C245CC3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4678363" y="33670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1B94DBD-9684-4D73-B789-BBDCD9D75EA0}" type="datetime'''''''''0''''''''''''''.''''''''4''''''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0" name="Text Placeholder">
            <a:extLst>
              <a:ext uri="{FF2B5EF4-FFF2-40B4-BE49-F238E27FC236}">
                <a16:creationId xmlns:a16="http://schemas.microsoft.com/office/drawing/2014/main" id="{2E71BDEB-ABA8-DA92-CB69-6CD0C06A11B7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1569700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EF4B3A9-AEAB-4776-B6B9-DFE2BFDF63A2}" type="datetime'0.''''''''''''''''''''''''''''''''''''''''''''''4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7" name="Text Placeholder">
            <a:extLst>
              <a:ext uri="{FF2B5EF4-FFF2-40B4-BE49-F238E27FC236}">
                <a16:creationId xmlns:a16="http://schemas.microsoft.com/office/drawing/2014/main" id="{92D6B702-1124-79A9-127E-854397E6153D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6056313" y="427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D1723B8-C8DF-4235-B2C8-D250AE08FFED}" type="datetime'0''''.''''''''''''''''''1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1" name="Text Placeholder">
            <a:extLst>
              <a:ext uri="{FF2B5EF4-FFF2-40B4-BE49-F238E27FC236}">
                <a16:creationId xmlns:a16="http://schemas.microsoft.com/office/drawing/2014/main" id="{64CC8C74-08C7-0421-4F5D-E13DCFCB231C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1156970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D1F26E5-EF0B-418E-9580-2E2003DB9A3E}" type="datetime'''''''''''''''''''''''0''''''.''''''''4'''">
              <a:rPr lang="en-GB" altLang="en-US" sz="1200" smtClean="0">
                <a:solidFill>
                  <a:srgbClr val="000000"/>
                </a:solidFill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8" name="Text Placeholder">
            <a:extLst>
              <a:ext uri="{FF2B5EF4-FFF2-40B4-BE49-F238E27FC236}">
                <a16:creationId xmlns:a16="http://schemas.microsoft.com/office/drawing/2014/main" id="{9B1ED917-3A56-8CB4-FB6D-2DB3E7940892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6056313" y="4097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D3AD744-AC12-4B16-8785-FE9E695B91B8}" type="datetime'''''0''''.''''1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6" name="Text Placeholder">
            <a:extLst>
              <a:ext uri="{FF2B5EF4-FFF2-40B4-BE49-F238E27FC236}">
                <a16:creationId xmlns:a16="http://schemas.microsoft.com/office/drawing/2014/main" id="{077DAABA-E09E-2ACB-359E-EFDA838D6E96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0191750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9718472-0AF6-4CA0-82CA-AD570DED8A37}" type="datetime'''0''''''''''''''''''''''''.''''''''''''''''''''''''3'">
              <a:rPr lang="en-GB" altLang="en-US" sz="1200" smtClean="0">
                <a:solidFill>
                  <a:srgbClr val="000000"/>
                </a:solidFill>
              </a:rPr>
              <a:pPr/>
              <a:t>0.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9" name="Text Placeholder">
            <a:extLst>
              <a:ext uri="{FF2B5EF4-FFF2-40B4-BE49-F238E27FC236}">
                <a16:creationId xmlns:a16="http://schemas.microsoft.com/office/drawing/2014/main" id="{1E23FEFA-ED19-FA61-5337-1602E27BF5F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6056313" y="39147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BBA93B2-391A-45E9-A5EA-B499D4EF0705}" type="datetime'''''''''''''''''''''''''''''''''''''''''0.''''''''''1'''''">
              <a:rPr lang="en-GB" altLang="en-US" sz="1200" smtClean="0">
                <a:solidFill>
                  <a:srgbClr val="000000"/>
                </a:solidFill>
              </a:rPr>
              <a:pPr/>
              <a:t>0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3" name="Text Placeholder">
            <a:extLst>
              <a:ext uri="{FF2B5EF4-FFF2-40B4-BE49-F238E27FC236}">
                <a16:creationId xmlns:a16="http://schemas.microsoft.com/office/drawing/2014/main" id="{6BE8ACF6-9B0A-46AC-F733-038C172EA5A7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11039475" y="39465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CF826F2-5844-4E8B-B5D5-8393E0AA8D9E}" type="datetime'''''''0''''''''''''''''''''''''''''''.8'''''''''''''''''''''">
              <a:rPr lang="en-GB" altLang="en-US" sz="1200" smtClean="0">
                <a:solidFill>
                  <a:srgbClr val="FFFFFF"/>
                </a:solidFill>
              </a:rPr>
              <a:pPr/>
              <a:t>0.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2770188" y="17399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F3DE71-E112-4678-9892-5E0DAC1E5B62}" type="datetime'''''''''''''''''''''''''''9''''''''''.4'''">
              <a:rPr lang="en-GB" altLang="en-US" sz="1200" smtClean="0">
                <a:solidFill>
                  <a:srgbClr val="000000"/>
                </a:solidFill>
              </a:rPr>
              <a:pPr/>
              <a:t>9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4148138" y="38782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BF49DC-9EA5-4F3D-BC9B-625BE0B64144}" type="datetime'''''''''''''''''''''''''''''1''''.''''5'''''">
              <a:rPr lang="en-GB" altLang="en-US" sz="1200" smtClean="0">
                <a:solidFill>
                  <a:srgbClr val="000000"/>
                </a:solidFill>
              </a:rPr>
              <a:pPr/>
              <a:t>1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5526088" y="37687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CB36E96-BE91-412F-B11C-CAFE7DEBFBC7}" type="datetime'1''''''''''''''.9'''''''''''''">
              <a:rPr lang="en-GB" altLang="en-US" sz="1200" smtClean="0">
                <a:solidFill>
                  <a:srgbClr val="000000"/>
                </a:solidFill>
              </a:rPr>
              <a:pPr/>
              <a:t>1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6905625" y="40560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A3D8FE-B18C-4846-9EF7-226B717749AE}" type="datetime'''0''''''''''''''.''''''''''''8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8283575" y="40528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A198C90-32A0-4C7C-AB41-B41F9B13213F}" type="datetime'''''''''''''''0.''''''''''''''''''8'''''''''''''''">
              <a:rPr lang="en-GB" altLang="en-US" sz="1200" smtClean="0">
                <a:solidFill>
                  <a:srgbClr val="000000"/>
                </a:solidFill>
              </a:rPr>
              <a:pPr/>
              <a:t>0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9661525" y="35956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BC386C-ADC4-448A-A9BD-97B8586A15B8}" type="datetime'''''''''''''''''''''''''''''2''''''.''''''''5'''''''''''''''">
              <a:rPr lang="en-GB" altLang="en-US" sz="1200" smtClean="0">
                <a:solidFill>
                  <a:srgbClr val="000000"/>
                </a:solidFill>
              </a:rPr>
              <a:pPr/>
              <a:t>2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1039475" y="37274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3F016C-3EF4-41F9-9058-E0AB171DDFE3}" type="datetime'''''''''''''''''''''2''''''''''''''''''.''''''''''0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2" name="Text Placeholder">
            <a:extLst>
              <a:ext uri="{FF2B5EF4-FFF2-40B4-BE49-F238E27FC236}">
                <a16:creationId xmlns:a16="http://schemas.microsoft.com/office/drawing/2014/main" id="{A7021A5F-D4EB-0BB7-EE1C-2CCE103C1F36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11569700" y="3732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4CDC1F4-8A92-401F-BB54-31148D1B5C40}" type="datetime'''''''''0''.''''''''''''5'''''''''''''''''''''">
              <a:rPr lang="en-GB" altLang="en-US" sz="1200" smtClean="0">
                <a:solidFill>
                  <a:srgbClr val="000000"/>
                </a:solidFill>
              </a:rPr>
              <a:pPr/>
              <a:t>0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220980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47F8DF-A009-4DC0-91C4-32CAF3385DD8}" type="datetime'''''''''''''''T''''''''''o''''t''''''''a''''''l''''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964113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F7095A-0872-4444-93A9-8C2C0C9FD11C}" type="datetime'''''''''''Re''''''''''gi''''o''''''n'''''''''''''''' 2'''''">
              <a:rPr lang="en-GB" altLang="en-US" sz="1200" smtClean="0">
                <a:solidFill>
                  <a:srgbClr val="000000"/>
                </a:solidFill>
              </a:rPr>
              <a:pPr/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6343650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FF3F05-0D6A-41DE-A3D5-374AF4E74E57}" type="datetime'R''''''''''''''''''''e''g''i''''o''''''''''''''n 3'''">
              <a:rPr lang="en-GB" altLang="en-US" sz="1200" smtClean="0">
                <a:solidFill>
                  <a:srgbClr val="000000"/>
                </a:solidFill>
              </a:rPr>
              <a:pPr/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3587750" y="4579938"/>
            <a:ext cx="1376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3E0375-B097-4BCB-B7A2-F9E77C562B0E}" type="datetime'''''''''''R''''''''''''''''e''''''''''g''''i''''on'' ''''1'">
              <a:rPr lang="en-GB" altLang="en-US" sz="1200" smtClean="0">
                <a:solidFill>
                  <a:srgbClr val="000000"/>
                </a:solidFill>
              </a:rPr>
              <a:pPr/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7721599" y="4579938"/>
            <a:ext cx="1379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559FC4E-0BD0-4F6C-A150-50DDA876F253}" type="datetime'''''''''''R''''''''e''gi''o''''''''n'''''''''''''''' 4'">
              <a:rPr lang="en-GB" altLang="en-US" sz="1200" smtClean="0">
                <a:solidFill>
                  <a:srgbClr val="000000"/>
                </a:solidFill>
              </a:rPr>
              <a:pPr/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96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330199" y="4854575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2861F41-3EF0-45FA-8B50-FE615E777607}" type="datetime'''Ali''''''''''''''gnme''''nt ''''''''l''''''e''''''ve''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9101137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4EE498-A56F-4819-9593-8734A582F09B}" type="datetime'''R''''''''e''''''''''g''''i''o''n'''''''''''' ''''''''''5'''">
              <a:rPr lang="en-GB" altLang="en-US" sz="1200" smtClean="0">
                <a:solidFill>
                  <a:srgbClr val="000000"/>
                </a:solidFill>
              </a:rPr>
              <a:pPr/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10479088" y="4579938"/>
            <a:ext cx="1377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945344-DE05-4EDA-B6A6-D18DF91899B4}" type="datetime'''''''R''''''e''g''''''i''''''''''''o''n ''''''6'''''''">
              <a:rPr lang="en-GB" altLang="en-US" sz="1200" smtClean="0">
                <a:solidFill>
                  <a:srgbClr val="000000"/>
                </a:solidFill>
              </a:rPr>
              <a:pPr/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220980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A15CCE8-4C22-46BC-8F6F-93BDC73E1AEF}" type="datetime'5''''''''''''''''''''''2'''''''' 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3587750" y="4854575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11C05D-66A6-4159-9E69-D88D1C35658E}" type="datetime'''''''''''2''''''4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4964113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901891-F5E9-451A-99A1-EDE087B99270}" type="datetime'''7''''''''''''''''''''''''''''''6'''' 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6343650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917C7B-482B-4A95-AA36-602A3E8DD569}" type="datetime'''''''''''''''''1''''''''''''9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7721599" y="4854575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2EFEDA-1C18-4D39-A0C0-363E929EF842}" type="datetime'''''''0'''''''''''''''''''''' 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9101137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984CCC-F447-470A-9A46-4ED96C5C13D7}" type="datetime'''''''''''''7''''''''''''''''''''''''7 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10479088" y="4854575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8BA56E-E256-4E1E-9FF5-1A186A593B10}" type="datetime'''''''''''''6''''2'''''''''''''''''''''''''''''''''''''''' 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2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590664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04F33FF4-F224-186B-6A2D-2A7E13454FE9}"/>
              </a:ext>
            </a:extLst>
          </p:cNvPr>
          <p:cNvGrpSpPr/>
          <p:nvPr>
            <p:custDataLst>
              <p:tags r:id="rId107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3" name="btfpRunningAgenda1LevelBarLeft573689">
              <a:extLst>
                <a:ext uri="{FF2B5EF4-FFF2-40B4-BE49-F238E27FC236}">
                  <a16:creationId xmlns:a16="http://schemas.microsoft.com/office/drawing/2014/main" id="{25F79BD5-4A90-B04E-2852-605E7030E50A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7" name="btfpRunningAgenda1LevelTextLeft573689">
              <a:extLst>
                <a:ext uri="{FF2B5EF4-FFF2-40B4-BE49-F238E27FC236}">
                  <a16:creationId xmlns:a16="http://schemas.microsoft.com/office/drawing/2014/main" id="{4248D941-2F99-6CE7-5E1D-9162F0EA8519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96C50777-C0C6-E7B9-AD9C-67ECB4D0C1C4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330199" y="5219700"/>
            <a:ext cx="32575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7A77859-48AD-4190-AB40-07299AC43F31}" type="datetime'''''''''''''''# ''''''''o''''''f'''''' P''o''''r''tCos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81682F11-C926-82DE-644F-9CDD2AEB4288}"/>
              </a:ext>
            </a:extLst>
          </p:cNvPr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220980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56B1F33-D065-4205-9963-ACE8A35675C2}" type="datetime'''''''''''''''''''''''''''1''''''''''0''0'''''''''''">
              <a:rPr lang="en-GB" altLang="en-US" sz="1200" smtClean="0">
                <a:solidFill>
                  <a:srgbClr val="000000"/>
                </a:solidFill>
              </a:rPr>
              <a:pPr/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2B2123CD-A311-0715-C728-22C69E28B45C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3587750" y="5219700"/>
            <a:ext cx="1376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889813-6374-46D9-9C5D-EA21DB0E3A5C}" type="datetime'''''''''''''''2''''''''''6'">
              <a:rPr lang="en-GB" altLang="en-US" sz="1200" smtClean="0">
                <a:solidFill>
                  <a:srgbClr val="000000"/>
                </a:solidFill>
              </a:rPr>
              <a:pPr/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B65A932B-D7C1-171B-B4FF-C2DA240F4CA5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4964113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F2174AA-72EA-49ED-8472-467ADCCF5C4A}" type="datetime'''''''''''''''''''''''''''''''''''''''''''14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11527160-5F56-A713-B54A-66ED2692A190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6343650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599B9F2-F19E-491F-BDEE-517BDB3BCA0E}" type="datetime'''''''''''''''''''''''''''''1''''''''''''6'''''''''">
              <a:rPr lang="en-GB" altLang="en-US" sz="1200" smtClean="0">
                <a:solidFill>
                  <a:srgbClr val="000000"/>
                </a:solidFill>
              </a:rPr>
              <a:pPr/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FACC08F5-FA9B-6EB8-DCA2-60A9B1652865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721599" y="5219700"/>
            <a:ext cx="13795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E64C1EC-DFE8-4A49-A783-E8DD73AC5498}" type="datetime'''''''''''1''''''''''''''''''''''''''''''''''''''''''''8'">
              <a:rPr lang="en-GB" altLang="en-US" sz="1200" smtClean="0">
                <a:solidFill>
                  <a:srgbClr val="000000"/>
                </a:solidFill>
              </a:rPr>
              <a:pPr/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AE05833-C9C3-8E1A-BAC1-C113990126EA}"/>
              </a:ext>
            </a:extLst>
          </p:cNvPr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9101137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F829D9-FC63-4D8A-A43A-5E7626092869}" type="datetime'''1''4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1101D936-C1BF-193D-7B47-A9EA1301EFC0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10479088" y="5219700"/>
            <a:ext cx="1377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A48845-2C62-4836-A219-0963F87A9E3A}" type="datetime'''''''''''''''''''''''''''''''''''''''''''''1''''2'''''''''''">
              <a:rPr lang="en-GB" altLang="en-US" sz="1200" smtClean="0">
                <a:solidFill>
                  <a:srgbClr val="000000"/>
                </a:solidFill>
              </a:rPr>
              <a:pPr/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5" name="Text Placeholder">
            <a:extLst>
              <a:ext uri="{FF2B5EF4-FFF2-40B4-BE49-F238E27FC236}">
                <a16:creationId xmlns:a16="http://schemas.microsoft.com/office/drawing/2014/main" id="{05D3E4CE-ED8B-85B1-98C7-886522724FEF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220980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1B725B-6132-4050-B9C4-F2E1006B5527}" type="datetime'''''''''''''''''''''''1''4,8''0''''0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6" name="Text Placeholder">
            <a:extLst>
              <a:ext uri="{FF2B5EF4-FFF2-40B4-BE49-F238E27FC236}">
                <a16:creationId xmlns:a16="http://schemas.microsoft.com/office/drawing/2014/main" id="{D90FD5A4-11BF-ABD3-B034-9DE12DE12354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3587750" y="5584825"/>
            <a:ext cx="1376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FF2891-2348-42B9-B3C9-9C275CB174E7}" type="datetime'''''''''''2'',''4''''''''''''''''''''''''''''65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45E942EC-2626-A93A-318B-6F91232DA58A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4964113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E0E7623-7E9C-4C4E-9C06-35810522696E}" type="datetime'''''''2'''''''''''',''''''''''''''''''''8''''''55''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97BD15B7-6228-9688-7C82-35E87E140FF9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343650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1AB63B5-1240-4B41-9048-EABCC058EE00}" type="datetime'''''''1,''''''''''''''''''''''4''''20''''''''''''''''''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9" name="Text Placeholder">
            <a:extLst>
              <a:ext uri="{FF2B5EF4-FFF2-40B4-BE49-F238E27FC236}">
                <a16:creationId xmlns:a16="http://schemas.microsoft.com/office/drawing/2014/main" id="{A47601B2-AAFF-F859-0369-52C3C6C005A6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7721599" y="5584825"/>
            <a:ext cx="13795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7A3D68D-D53A-45D0-AE0E-4AB52F896554}" type="datetime'1'''''''''''',''4''2''''5''''''''''''''''''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0" name="Text Placeholder">
            <a:extLst>
              <a:ext uri="{FF2B5EF4-FFF2-40B4-BE49-F238E27FC236}">
                <a16:creationId xmlns:a16="http://schemas.microsoft.com/office/drawing/2014/main" id="{66A009AB-53F4-EF27-1227-C4349B66EC71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9101137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7D3152F-5AFB-408B-BE60-F7A99CD171A8}" type="datetime'''''''''''''''''''''3,8''7''''''''''''''''0''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1" name="Text Placeholder">
            <a:extLst>
              <a:ext uri="{FF2B5EF4-FFF2-40B4-BE49-F238E27FC236}">
                <a16:creationId xmlns:a16="http://schemas.microsoft.com/office/drawing/2014/main" id="{D0DBCCEC-DCEB-5348-AE9E-F7734F608599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10479088" y="5584825"/>
            <a:ext cx="1377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28CD63-F186-47CF-A8B2-AF107E228172}" type="datetime'2'''''''''''''''''''''''''''',''68''''''8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7" name="Text Placeholder">
            <a:extLst>
              <a:ext uri="{FF2B5EF4-FFF2-40B4-BE49-F238E27FC236}">
                <a16:creationId xmlns:a16="http://schemas.microsoft.com/office/drawing/2014/main" id="{279E1EBD-71F5-CA4A-B540-5ADDD0836A3D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330199" y="5584825"/>
            <a:ext cx="32575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133BDC9-7EFE-4769-A4B7-CE479B1DFE9F}" type="datetime'''''Finan''c''ed'' ''em''iss''i''o''ns (t''CO''2''''''e'')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549DF968-B544-5B8C-E16B-1CA92E91F331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1</a:t>
            </a:r>
          </a:p>
        </p:txBody>
      </p:sp>
      <p:sp>
        <p:nvSpPr>
          <p:cNvPr id="10" name="btfpBulletedList689396">
            <a:extLst>
              <a:ext uri="{FF2B5EF4-FFF2-40B4-BE49-F238E27FC236}">
                <a16:creationId xmlns:a16="http://schemas.microsoft.com/office/drawing/2014/main" id="{9D3615D9-3710-3E1E-E8B1-5878A5F037CD}"/>
              </a:ext>
            </a:extLst>
          </p:cNvPr>
          <p:cNvSpPr/>
          <p:nvPr/>
        </p:nvSpPr>
        <p:spPr bwMode="gray">
          <a:xfrm>
            <a:off x="8954100" y="-1"/>
            <a:ext cx="3237900" cy="149717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8458310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99674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0" imgW="484" imgH="486" progId="TCLayout.ActiveDocument.1">
                  <p:embed/>
                </p:oleObj>
              </mc:Choice>
              <mc:Fallback>
                <p:oleObj name="think-cell Slide" r:id="rId6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PortCos</a:t>
            </a:r>
          </a:p>
        </p:txBody>
      </p:sp>
      <p:graphicFrame>
        <p:nvGraphicFramePr>
          <p:cNvPr id="23" name="Chart 22">
            <a:extLst>
              <a:ext uri="{FF2B5EF4-FFF2-40B4-BE49-F238E27FC236}">
                <a16:creationId xmlns:a16="http://schemas.microsoft.com/office/drawing/2014/main" id="{98F83985-A8EC-2382-3E96-72DB1AA44F29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248944"/>
              </p:ext>
            </p:extLst>
          </p:nvPr>
        </p:nvGraphicFramePr>
        <p:xfrm>
          <a:off x="1679575" y="1519238"/>
          <a:ext cx="10260013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398587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951D76B-7F91-4DBC-98F9-68F67DA88B92}" type="datetime'''''''0''''''''''''''''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8" name="Text Placeholder">
            <a:extLst>
              <a:ext uri="{FF2B5EF4-FFF2-40B4-BE49-F238E27FC236}">
                <a16:creationId xmlns:a16="http://schemas.microsoft.com/office/drawing/2014/main" id="{AF6E80CC-F1DC-8E29-3DEF-BBD6DC2651BB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314450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3A8FF07-F15B-4EB1-A6AC-A210BB240DAC}" type="datetime'''2''0'' ''''''''''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9" name="Text Placeholder">
            <a:extLst>
              <a:ext uri="{FF2B5EF4-FFF2-40B4-BE49-F238E27FC236}">
                <a16:creationId xmlns:a16="http://schemas.microsoft.com/office/drawing/2014/main" id="{327B5EEE-91FD-5729-0BE7-006BD488141A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314450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DA26E47-0233-4621-9436-D60E14503EF0}" type="datetime'''''''''''''4''''''''''''''''0'''' 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0" name="Text Placeholder">
            <a:extLst>
              <a:ext uri="{FF2B5EF4-FFF2-40B4-BE49-F238E27FC236}">
                <a16:creationId xmlns:a16="http://schemas.microsoft.com/office/drawing/2014/main" id="{4304DE9F-C1A9-49BB-5DC5-C11E8D46B871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14450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18D6046-D7BC-44DE-8B30-1C2AB63E2C3A}" type="datetime'''''''''60'' 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1" name="Text Placeholder">
            <a:extLst>
              <a:ext uri="{FF2B5EF4-FFF2-40B4-BE49-F238E27FC236}">
                <a16:creationId xmlns:a16="http://schemas.microsoft.com/office/drawing/2014/main" id="{D7AB7C83-27F0-D947-B7D8-837C6211155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14450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6BB742A-F01C-4971-B032-586CC0CDBEC2}" type="datetime'''''''''''''''''''''''8''''''0'''''''' 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230313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4E62252-F90B-4C21-9373-DB0F8AE52301}" type="datetime'''''1''''''0''''''''''''''''''0''''''''''''''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DEAAAECA-A593-6B00-DE7F-7247D567A844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 flipV="1">
            <a:off x="2806700" y="1852614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7134225" y="23764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8575675" y="216058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230313" y="1390650"/>
            <a:ext cx="42687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PortCos, 2023 (% of PortCos)</a:t>
            </a:r>
          </a:p>
        </p:txBody>
      </p:sp>
      <p:sp>
        <p:nvSpPr>
          <p:cNvPr id="258" name="Text Placeholder">
            <a:extLst>
              <a:ext uri="{FF2B5EF4-FFF2-40B4-BE49-F238E27FC236}">
                <a16:creationId xmlns:a16="http://schemas.microsoft.com/office/drawing/2014/main" id="{7402A61B-B570-7019-0E68-66241E17479B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286000" y="36274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A0B9D8-0F20-42CF-8C29-80436DC9F355}" type="datetime'''''''''1''7''''''''''''''''''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9" name="Text Placeholder">
            <a:extLst>
              <a:ext uri="{FF2B5EF4-FFF2-40B4-BE49-F238E27FC236}">
                <a16:creationId xmlns:a16="http://schemas.microsoft.com/office/drawing/2014/main" id="{D2C679CD-D6CE-B758-3380-FA646DC2A4C5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286000" y="2749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63D80B0-4C1B-4386-BB7D-7DC3CD304A88}" type="datetime'''''''''''''''''''''1''''''''''''''''''2 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0" name="Text Placeholder">
            <a:extLst>
              <a:ext uri="{FF2B5EF4-FFF2-40B4-BE49-F238E27FC236}">
                <a16:creationId xmlns:a16="http://schemas.microsoft.com/office/drawing/2014/main" id="{E11C6382-E473-35A0-D72D-6545272B34D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3729038" y="32019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A314E8-235D-4640-9506-A21584DDCABE}" type="datetime'''1''9'''''''' ''''''''''''''''%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1" name="Text Placeholder">
            <a:extLst>
              <a:ext uri="{FF2B5EF4-FFF2-40B4-BE49-F238E27FC236}">
                <a16:creationId xmlns:a16="http://schemas.microsoft.com/office/drawing/2014/main" id="{CC899797-BB39-A93C-6E40-6B75DBA5E6C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3771899" y="231775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2CB9F3-7D39-4631-9ECA-22CA03A5A689}" type="datetime'''''''''''8'''''' ''''''''''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2" name="Text Placeholder">
            <a:extLst>
              <a:ext uri="{FF2B5EF4-FFF2-40B4-BE49-F238E27FC236}">
                <a16:creationId xmlns:a16="http://schemas.microsoft.com/office/drawing/2014/main" id="{54A83658-97A7-48D0-0907-E7BBC9B12E1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5170488" y="36242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A4A3A6-585E-4ABD-835E-0DC3EE8A6E03}" type="datetime'''''''''''''''''''''1''''''4'''''''' ''''''''''''''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3" name="Text Placeholder">
            <a:extLst>
              <a:ext uri="{FF2B5EF4-FFF2-40B4-BE49-F238E27FC236}">
                <a16:creationId xmlns:a16="http://schemas.microsoft.com/office/drawing/2014/main" id="{885BB542-0DD4-8745-84EB-4E04B64FDA2D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613525" y="32988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EE9682-8D20-4F30-8A98-23F806F06686}" type="datetime'''''''''''''''''''''''1''''''9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4" name="Text Placeholder">
            <a:extLst>
              <a:ext uri="{FF2B5EF4-FFF2-40B4-BE49-F238E27FC236}">
                <a16:creationId xmlns:a16="http://schemas.microsoft.com/office/drawing/2014/main" id="{393BDCC7-D9BC-799F-E298-F7C065B5DA28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054975" y="34956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9ABDF2-410A-48B2-AF09-1FD25483968B}" type="datetime'''''''''''''''''''3''''3'''' ''''%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5" name="Text Placeholder">
            <a:extLst>
              <a:ext uri="{FF2B5EF4-FFF2-40B4-BE49-F238E27FC236}">
                <a16:creationId xmlns:a16="http://schemas.microsoft.com/office/drawing/2014/main" id="{FB624E68-AE37-EA5C-090C-9E8BE37B8950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9498013" y="40100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90E8C91-BC3C-4ACF-959E-9117D28AB72D}" type="datetime'''1''''''4'''''''''''''' 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6" name="Text Placeholder">
            <a:extLst>
              <a:ext uri="{FF2B5EF4-FFF2-40B4-BE49-F238E27FC236}">
                <a16:creationId xmlns:a16="http://schemas.microsoft.com/office/drawing/2014/main" id="{F1EFF16D-8E8C-5695-614E-8DB82F6A38C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939463" y="38338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A41C3D-D316-4F6B-9944-843DF7BD8B56}" type="datetime'''''2''''''''5'''' 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76212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1588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FC7665-6959-4696-A273-03E158E921C9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4645025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BBDAA7E-97BE-42D5-9B87-88931DDF74AD}" type="datetime'''''R''''''''''''eg''''''''''''''io''n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6088063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928EE8-BA8A-45D4-8D6A-96FDB9BEF254}" type="datetime'''''''''''''Re''''''''g''''ion ''''''''''3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203575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129CD2E-6C72-4F3A-BF87-FCF757E71183}" type="datetime'R''''''''''''''''eg''''''''''i''''''''''on'' ''''''''''1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7529513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BF69B4A-C2FA-4DA6-AE7F-990B1BEB0556}" type="datetime'R''''''''''''e''''gio''''''''''''''''n'''' ''''''4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66060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25578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0785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0785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0596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0785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43651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0785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43651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0785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43651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30200" y="4854576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0785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43651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0785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43651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972550" y="4579938"/>
            <a:ext cx="14414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491E79-A3BE-46F4-806C-49ABB33E75D1}" type="datetime'R''''''eg''''ion'''''''''''''''''''''''''''' ''''''''''5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10414000" y="4579938"/>
            <a:ext cx="14430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17256D-4772-4F46-9A75-81C467CC1F05}" type="datetime'''''''''R''''e''''g''i''''''''''''''''o''n'''''''' 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76212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AF52F3D-E494-47BD-B8C7-020FA8BE6D9A}" type="datetime'''20'''''''''''''''' ''''''''''''''''''''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203575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7F5339-1036-4842-9138-616BBA672854}" type="datetime'''''''8 ''''''''''''''''''''''''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4645025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8D1D62-43AB-4858-8B69-9398F2235D9D}" type="datetime'''''''''''''''3''''''''''''6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6088063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F41138-DA36-46A8-8F70-DD1AB29A7CAC}" type="datetime'''''''''''''''''''''''''''''''6''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7529513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0DA605-B136-45C6-91EC-FD37CEE79BCD}" type="datetime'''0''''''''''''''''''''''''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8972550" y="4854576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CDED8FB-EB7D-431E-9A2D-4D17A1A4D147}" type="datetime'''''''''''''''5''''''''''''''7'''''''''' %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0414000" y="4854576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0E4B87F-C3AC-417A-A5CF-FE65B6079EDD}" type="datetime'''3''''''''''''''''''''''3''''''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213261" y="1736826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1" name="btfpRunningAgenda1Level573689">
            <a:extLst>
              <a:ext uri="{FF2B5EF4-FFF2-40B4-BE49-F238E27FC236}">
                <a16:creationId xmlns:a16="http://schemas.microsoft.com/office/drawing/2014/main" id="{D14DE32B-6BC5-D739-513C-2B445FA29F15}"/>
              </a:ext>
            </a:extLst>
          </p:cNvPr>
          <p:cNvGrpSpPr/>
          <p:nvPr>
            <p:custDataLst>
              <p:tags r:id="rId40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82" name="btfpRunningAgenda1LevelBarLeft573689">
              <a:extLst>
                <a:ext uri="{FF2B5EF4-FFF2-40B4-BE49-F238E27FC236}">
                  <a16:creationId xmlns:a16="http://schemas.microsoft.com/office/drawing/2014/main" id="{86E2E2A7-DDD6-FEA9-AEC4-F5907CFFDABF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btfpRunningAgenda1LevelTextLeft573689">
              <a:extLst>
                <a:ext uri="{FF2B5EF4-FFF2-40B4-BE49-F238E27FC236}">
                  <a16:creationId xmlns:a16="http://schemas.microsoft.com/office/drawing/2014/main" id="{2D33FF3E-52A3-914F-1BEA-AE5406BE6B8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296F37E-DD5E-FD3B-575C-BE5221464CC8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30200" y="5584826"/>
            <a:ext cx="28733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1CED0DE-C844-4EA4-B6FA-A0F28C6D6D98}" type="datetime'''F''inan''c''e''d'' ''''e''''mis''si''on''''s'' (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2D464DF4-D8E1-3D35-2D72-7F1333BCA7D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176212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55B970-1B6E-4081-B17B-DB61DDBBE094}" type="datetime'1''''''''''''''''''''0''''''0'''''''''''''''''' 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9F8B8EF-99AA-1A4A-DF49-7859C8C551C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203575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1A9433E-43FE-41FB-A64E-4F8D5C197A23}" type="datetime'''''''''''''''''''''''1''''''''''''''''7'' 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F3F743E4-63F1-6E8D-6D6F-C247A8AEB35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645025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0B6F64-3507-40ED-B90C-931283F7C450}" type="datetime'''1''''''''''''''''9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15F340A5-0DC0-3EBB-39A1-3533116BC8E1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088063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A64D19-AC38-4B0A-AB69-825ED5C7664D}" type="datetime'''1''''''''0 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C9879F9C-EA2F-AAF5-0352-96675822755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7529513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E4FC2-28B5-44C8-9373-307934291C00}" type="datetime'''1''''''''''''0'' ''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360E71A4-A93D-25D8-D43D-9827E9B8858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8972550" y="5584826"/>
            <a:ext cx="14414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414DFC-F9F8-45C1-A467-6947C5CF243A}" type="datetime'2''''''''''''''''''''''6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70347319-D345-9A6A-DADE-AE691F61C0AC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10414000" y="5584826"/>
            <a:ext cx="14430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511D01-8D41-4CD9-9010-412E028759FA}" type="datetime'''''''''''''''''''1''8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FB59B3DC-2D84-874B-08A9-EFA72D3D8662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30200" y="5219701"/>
            <a:ext cx="287337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A594A73-A7C2-4A7C-AE7F-19892302236D}" type="datetime'In''''v''''e''sted ''''c''''ap''''''''ita''''l ''(''''''''%)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A1D3796F-EC0F-8353-39D4-E2713350F03D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76212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1588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75FDAE-E2A2-4AAE-9265-994673D5E4A0}" type="datetime'''1''''''''''0''''''0''''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C0594C11-EE4F-A16D-1025-78923B31B5AA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3203575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F0282C-E262-4AC0-B7A4-0F6301208EC4}" type="datetime'''''''''1''''''''''''''''''6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3964D3E5-0947-BECE-556C-521DFFD6855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4645025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E3D583-FF9C-4345-80CD-4610CC93BC6E}" type="datetime'''''2''''''''''''''''''''0'' 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97939598-07ED-C263-9765-1895669D4D12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088063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829A79-1F87-4F77-A91A-47DA0D37C120}" type="datetime'9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18B034AA-AE1D-F4D2-B555-D00DDEBAEBB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529513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C5EE51-E8B6-47E0-9EF9-977796CA355A}" type="datetime'''''''''''''9'''''''''''''' %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26EE741A-88B7-FA3E-E81D-7B0DA130864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972550" y="5219701"/>
            <a:ext cx="14414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3175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87F-A64E-44E3-B882-D28EF861C70E}" type="datetime'''''''''''''''27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792BBDDF-7DC0-11AC-2CC2-B35CC72037B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10414000" y="5219701"/>
            <a:ext cx="1443038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6D1DF47-DFBD-4FEE-80BF-767C2A51338D}" type="datetime'''''''''''2''2''''''''''''''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3D00432-52F1-AFED-CC7A-9DAF77607D2E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10" name="btfpBulletedList689396">
            <a:extLst>
              <a:ext uri="{FF2B5EF4-FFF2-40B4-BE49-F238E27FC236}">
                <a16:creationId xmlns:a16="http://schemas.microsoft.com/office/drawing/2014/main" id="{59C7B0CB-B6AF-C30F-D652-0A30ADF26D51}"/>
              </a:ext>
            </a:extLst>
          </p:cNvPr>
          <p:cNvSpPr/>
          <p:nvPr/>
        </p:nvSpPr>
        <p:spPr bwMode="gray">
          <a:xfrm>
            <a:off x="8954100" y="0"/>
            <a:ext cx="3237900" cy="133103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19" name="btfpNotesBox885677">
            <a:extLst>
              <a:ext uri="{FF2B5EF4-FFF2-40B4-BE49-F238E27FC236}">
                <a16:creationId xmlns:a16="http://schemas.microsoft.com/office/drawing/2014/main" id="{210255CC-E28C-AAD6-FCD5-8F7BC1531A20}"/>
              </a:ext>
            </a:extLst>
          </p:cNvPr>
          <p:cNvSpPr txBox="1"/>
          <p:nvPr>
            <p:custDataLst>
              <p:tags r:id="rId5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8830997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4040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8" imgW="484" imgH="486" progId="TCLayout.ActiveDocument.1">
                  <p:embed/>
                </p:oleObj>
              </mc:Choice>
              <mc:Fallback>
                <p:oleObj name="think-cell Slide" r:id="rId88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region and PortCos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9B090140-6653-A022-7A70-7AD4C6EE5BA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11472460"/>
              </p:ext>
            </p:extLst>
          </p:nvPr>
        </p:nvGraphicFramePr>
        <p:xfrm>
          <a:off x="1916113" y="1519238"/>
          <a:ext cx="10023475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0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812925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F7A337A-1C43-4E27-BFDF-B2891C2B7F72}" type="datetime'''''''''''''''''''''''''''''''''''''''''''''''''''''''''0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B8929EFE-9367-568A-DBC5-7EE0AEEF2C1F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728788" y="3857625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F43DB5F-A831-45EE-9434-9D52B20D5B5A}" type="datetime'2''0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493A9DFD-3946-0273-B9E8-80247E0C2D51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728788" y="33162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2282027-FA8D-479E-8C5A-F7629E6ACC71}" type="datetime'''''''''4''''''''''''''''''''''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3696F543-2A50-93A5-B4BF-940AA3772F0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728788" y="27765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7B1E078-3F45-4456-A219-BE01103A98F1}" type="datetime'''60''''''''''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C66C3BD9-F44D-E6E3-1538-A02398B28290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728788" y="22352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23DBA5D-942B-45B3-BBF0-16C39CAD7770}" type="datetime'''8''''''''''''''''''''''''''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177740C8-E2FB-6A91-5AAF-A693636C34CF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644650" y="1695450"/>
            <a:ext cx="252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D28A813-E2F1-4DBE-9BD4-88FDCF69F39A}" type="datetime'''''''''''1''''''''''''00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9" name="Straight Connector 108">
            <a:extLst>
              <a:ext uri="{FF2B5EF4-FFF2-40B4-BE49-F238E27FC236}">
                <a16:creationId xmlns:a16="http://schemas.microsoft.com/office/drawing/2014/main" id="{25ACAA56-5F15-272C-16B4-1ABA97EDE235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 flipV="1">
            <a:off x="4425950" y="3948113"/>
            <a:ext cx="95250" cy="460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2455CDB6-2666-BEEF-CED7-91DBB13A9158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11468100" y="3732213"/>
            <a:ext cx="95250" cy="444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0" name="Straight Connector 139">
            <a:extLst>
              <a:ext uri="{FF2B5EF4-FFF2-40B4-BE49-F238E27FC236}">
                <a16:creationId xmlns:a16="http://schemas.microsoft.com/office/drawing/2014/main" id="{4805B095-B8D1-BCA8-3302-ED3D7FDF924D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11468100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6" name="Straight Connector 215">
            <a:extLst>
              <a:ext uri="{FF2B5EF4-FFF2-40B4-BE49-F238E27FC236}">
                <a16:creationId xmlns:a16="http://schemas.microsoft.com/office/drawing/2014/main" id="{9FEA8612-48B1-A218-34D1-131104BEBBC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 flipV="1">
            <a:off x="3017838" y="1852613"/>
            <a:ext cx="95250" cy="238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22862869-7EBB-B687-D3AB-C6E598E0D201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 flipH="1" flipV="1">
            <a:off x="4425950" y="4176713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" name="Straight Connector 107">
            <a:extLst>
              <a:ext uri="{FF2B5EF4-FFF2-40B4-BE49-F238E27FC236}">
                <a16:creationId xmlns:a16="http://schemas.microsoft.com/office/drawing/2014/main" id="{4BC65D12-0C5B-C337-5FBA-D4DA8D03CF9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 flipV="1">
            <a:off x="4425950" y="4041774"/>
            <a:ext cx="95250" cy="1349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0" name="Straight Connector 109">
            <a:extLst>
              <a:ext uri="{FF2B5EF4-FFF2-40B4-BE49-F238E27FC236}">
                <a16:creationId xmlns:a16="http://schemas.microsoft.com/office/drawing/2014/main" id="{2C2C5FC8-2A45-DC0A-5A05-2FBFB246AD09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4425950" y="3811588"/>
            <a:ext cx="95250" cy="682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1" name="Straight Connector 110">
            <a:extLst>
              <a:ext uri="{FF2B5EF4-FFF2-40B4-BE49-F238E27FC236}">
                <a16:creationId xmlns:a16="http://schemas.microsoft.com/office/drawing/2014/main" id="{00A5D44D-D4D5-F75E-AEB3-BAE26FF60F1C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4425950" y="3629025"/>
            <a:ext cx="95250" cy="1825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2" name="Straight Connector 111">
            <a:extLst>
              <a:ext uri="{FF2B5EF4-FFF2-40B4-BE49-F238E27FC236}">
                <a16:creationId xmlns:a16="http://schemas.microsoft.com/office/drawing/2014/main" id="{2CE0DD6F-749B-E45E-CA28-2585DA8A3AD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 flipH="1">
            <a:off x="5834063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" name="Straight Connector 112">
            <a:extLst>
              <a:ext uri="{FF2B5EF4-FFF2-40B4-BE49-F238E27FC236}">
                <a16:creationId xmlns:a16="http://schemas.microsoft.com/office/drawing/2014/main" id="{4875B6EB-D989-4660-F24B-FB8DA33E961A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 flipH="1">
            <a:off x="5834063" y="4279901"/>
            <a:ext cx="95250" cy="1000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4" name="Straight Connector 113">
            <a:extLst>
              <a:ext uri="{FF2B5EF4-FFF2-40B4-BE49-F238E27FC236}">
                <a16:creationId xmlns:a16="http://schemas.microsoft.com/office/drawing/2014/main" id="{28EE3AF5-7D00-3269-AEE7-8B1BC953837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 flipH="1">
            <a:off x="5834063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5" name="Straight Connector 114">
            <a:extLst>
              <a:ext uri="{FF2B5EF4-FFF2-40B4-BE49-F238E27FC236}">
                <a16:creationId xmlns:a16="http://schemas.microsoft.com/office/drawing/2014/main" id="{E7E5A74A-7FCF-BF99-428F-2F0ECECF99A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 flipH="1">
            <a:off x="5834063" y="3914774"/>
            <a:ext cx="95250" cy="3429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6" name="Straight Connector 115">
            <a:extLst>
              <a:ext uri="{FF2B5EF4-FFF2-40B4-BE49-F238E27FC236}">
                <a16:creationId xmlns:a16="http://schemas.microsoft.com/office/drawing/2014/main" id="{F63EA417-63F2-CFDF-6CF3-9A68C387E1DD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 flipH="1">
            <a:off x="5834063" y="3732213"/>
            <a:ext cx="95250" cy="4714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7" name="Straight Connector 116">
            <a:extLst>
              <a:ext uri="{FF2B5EF4-FFF2-40B4-BE49-F238E27FC236}">
                <a16:creationId xmlns:a16="http://schemas.microsoft.com/office/drawing/2014/main" id="{ADEDF4E1-2554-9E88-3547-5467CE720925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 flipH="1">
            <a:off x="5834063" y="3549650"/>
            <a:ext cx="95250" cy="5873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8" name="Straight Connector 117">
            <a:extLst>
              <a:ext uri="{FF2B5EF4-FFF2-40B4-BE49-F238E27FC236}">
                <a16:creationId xmlns:a16="http://schemas.microsoft.com/office/drawing/2014/main" id="{7DDA91DB-A154-ED93-46E5-A2AEA13AC709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 flipH="1">
            <a:off x="7243763" y="4370388"/>
            <a:ext cx="95250" cy="492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2814CF27-120B-CE77-15F6-88A57670A19A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 flipH="1">
            <a:off x="7243763" y="4187825"/>
            <a:ext cx="95250" cy="123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id="{2C85F4AC-C0E0-5877-39AA-0C89BA5E3348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 flipH="1">
            <a:off x="7243763" y="4097338"/>
            <a:ext cx="95250" cy="1206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38" name="Straight Connector 237">
            <a:extLst>
              <a:ext uri="{FF2B5EF4-FFF2-40B4-BE49-F238E27FC236}">
                <a16:creationId xmlns:a16="http://schemas.microsoft.com/office/drawing/2014/main" id="{9EBD73D8-C7F3-86B7-71C2-6B14F3814BD6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 flipH="1">
            <a:off x="7243763" y="3914774"/>
            <a:ext cx="95250" cy="2349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1" name="Straight Connector 120">
            <a:extLst>
              <a:ext uri="{FF2B5EF4-FFF2-40B4-BE49-F238E27FC236}">
                <a16:creationId xmlns:a16="http://schemas.microsoft.com/office/drawing/2014/main" id="{AC4CFB90-828C-AADD-4C86-C9603B762863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 flipH="1">
            <a:off x="7243763" y="3732213"/>
            <a:ext cx="95250" cy="37782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2" name="Straight Connector 121">
            <a:extLst>
              <a:ext uri="{FF2B5EF4-FFF2-40B4-BE49-F238E27FC236}">
                <a16:creationId xmlns:a16="http://schemas.microsoft.com/office/drawing/2014/main" id="{CBFDC8D4-5A10-2E48-0A0A-6C0915830815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 flipH="1">
            <a:off x="7243763" y="3549650"/>
            <a:ext cx="95250" cy="519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3" name="Straight Connector 122">
            <a:extLst>
              <a:ext uri="{FF2B5EF4-FFF2-40B4-BE49-F238E27FC236}">
                <a16:creationId xmlns:a16="http://schemas.microsoft.com/office/drawing/2014/main" id="{ABC17767-EC30-2FFD-4AED-B5226ACB6744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 flipH="1">
            <a:off x="8651875" y="4370387"/>
            <a:ext cx="95250" cy="762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4" name="Straight Connector 123">
            <a:extLst>
              <a:ext uri="{FF2B5EF4-FFF2-40B4-BE49-F238E27FC236}">
                <a16:creationId xmlns:a16="http://schemas.microsoft.com/office/drawing/2014/main" id="{D4C1A40A-01AE-71FB-1DEE-4535A8C4AC3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 flipH="1">
            <a:off x="8651875" y="4187825"/>
            <a:ext cx="95250" cy="1381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42" name="Straight Connector 241">
            <a:extLst>
              <a:ext uri="{FF2B5EF4-FFF2-40B4-BE49-F238E27FC236}">
                <a16:creationId xmlns:a16="http://schemas.microsoft.com/office/drawing/2014/main" id="{3D3E546B-25C7-0FDF-1E32-4F71F780BC35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 flipH="1">
            <a:off x="8651875" y="4005263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6" name="Straight Connector 125">
            <a:extLst>
              <a:ext uri="{FF2B5EF4-FFF2-40B4-BE49-F238E27FC236}">
                <a16:creationId xmlns:a16="http://schemas.microsoft.com/office/drawing/2014/main" id="{6CCD75A5-9732-F788-6234-A00D8A270E8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 flipH="1">
            <a:off x="8651875" y="3914775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DF43BB8E-6B5A-E58D-6048-F1AD1626CECC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 flipH="1">
            <a:off x="10059988" y="4370388"/>
            <a:ext cx="95250" cy="1031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458E425A-7022-49ED-DBA5-9D69E1710FB7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 flipH="1">
            <a:off x="10059988" y="4279900"/>
            <a:ext cx="95250" cy="1539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1" name="Straight Connector 130">
            <a:extLst>
              <a:ext uri="{FF2B5EF4-FFF2-40B4-BE49-F238E27FC236}">
                <a16:creationId xmlns:a16="http://schemas.microsoft.com/office/drawing/2014/main" id="{1223486C-30FF-B490-E94D-03AB5560038C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 flipH="1">
            <a:off x="10059988" y="4097338"/>
            <a:ext cx="95250" cy="2682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A8B2920B-8EA8-15A0-ECBF-CE3F13848D56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 flipH="1">
            <a:off x="10059988" y="3914775"/>
            <a:ext cx="95250" cy="22225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1" name="Straight Connector 140">
            <a:extLst>
              <a:ext uri="{FF2B5EF4-FFF2-40B4-BE49-F238E27FC236}">
                <a16:creationId xmlns:a16="http://schemas.microsoft.com/office/drawing/2014/main" id="{F6CEFE91-B3D9-2748-DB13-CED345385AFF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 flipH="1">
            <a:off x="11468100" y="4279899"/>
            <a:ext cx="95250" cy="139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2" name="Straight Connector 141">
            <a:extLst>
              <a:ext uri="{FF2B5EF4-FFF2-40B4-BE49-F238E27FC236}">
                <a16:creationId xmlns:a16="http://schemas.microsoft.com/office/drawing/2014/main" id="{7A57D799-4C40-BBAE-5F51-A1240DB439FC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 flipH="1">
            <a:off x="11468100" y="4097338"/>
            <a:ext cx="95250" cy="2286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B72515A3-433F-8891-CAE3-FE1A4B64AAD5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468100" y="3914775"/>
            <a:ext cx="95250" cy="3159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5" name="Text Placeholder">
            <a:extLst>
              <a:ext uri="{FF2B5EF4-FFF2-40B4-BE49-F238E27FC236}">
                <a16:creationId xmlns:a16="http://schemas.microsoft.com/office/drawing/2014/main" id="{3D7AE372-2666-F41A-CFEB-5C9C4AD09F3F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2595563" y="3627438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942E9E-5012-4FBE-AA0D-FD3726C40932}" type="datetime'''''''''''''''1''''''''7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8" name="Text Placeholder">
            <a:extLst>
              <a:ext uri="{FF2B5EF4-FFF2-40B4-BE49-F238E27FC236}">
                <a16:creationId xmlns:a16="http://schemas.microsoft.com/office/drawing/2014/main" id="{36A5C706-B8A8-6DE8-9A72-EB992F2010E3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2595563" y="2749550"/>
            <a:ext cx="2127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3F3216-4A4D-42CD-9DC6-BF2234D95CF2}" type="datetime'''''''''''''''''''''''''''''''''''''''''''''''''1''''2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3623C47-4802-C844-1B5B-8D45511AEFA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2554288" y="1577975"/>
            <a:ext cx="296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EFFB88-1F9A-4AA6-93E3-4D6D04B0F3AE}" type="datetime'''''''''''1''''''''''''''''0''0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1644649" y="1390650"/>
            <a:ext cx="42179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sector and PortCos, 2023 (# of PortCos)</a:t>
            </a: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5E03F674-F646-6525-EED0-81BA0F4206F9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5411788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1F7EA2-24A2-4128-88B9-2784634C2CCB}" type="datetime'1''''''''''''''''''''''''''4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B28664D9-6DDC-A249-EE7F-43981C29F240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6821488" y="384810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78CBFEC-77DA-4F86-A39B-0805C22A50FC}" type="datetime'''''''''''''''''''''''''''1''''''''''''''''6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E860D8B6-E956-CB03-D6D6-CF2CA98897C0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8229600" y="37941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BD5EB37-A563-433B-A3A7-6CAF82301D1E}" type="datetime'''''''''''''''''''''''''''''''1''''''''''''''8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EE5E71E2-8246-DE27-B4E0-9A5B4AFF366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9637713" y="39020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286D7C-AA7A-43E8-A5E5-06A21FE79442}" type="datetime'''''''''''1''''''''''4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1" name="Text Placeholder">
            <a:extLst>
              <a:ext uri="{FF2B5EF4-FFF2-40B4-BE49-F238E27FC236}">
                <a16:creationId xmlns:a16="http://schemas.microsoft.com/office/drawing/2014/main" id="{92287421-BD6F-9088-FB6D-1F34EEBA58CA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1045825" y="3956050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E3091A-FC7C-44A6-9025-C331D6026654}" type="datetime'''''''''''''''''''''1''''2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B337AC00-8BAD-3549-1E30-CA8B0DAA9F8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4003675" y="357663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9E4C8E-17C6-4E84-A27A-D4716EA124D9}" type="datetime'2''6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99866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B923BD-9DF3-461A-BC76-336B43C1656B}" type="datetime'''''''''''T''''o''''''''''''t''''''''a''''''''''''''l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481488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C1F27C-A159-44DE-8C2E-652B931814BD}" type="datetime'''''''''''R''''''''''''e''''''gio''''''''''''''''n ''2'''''''">
              <a:rPr lang="en-GB" altLang="en-US" sz="1200" smtClean="0">
                <a:solidFill>
                  <a:srgbClr val="000000"/>
                </a:solidFill>
              </a:rPr>
              <a:pPr/>
              <a:t>Region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224589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46DFBED-84E1-4B33-8F51-8CDFBDCBD27D}" type="datetime'''R''''eg''i''''''''on'''''''''' ''''''''3'''''''''''">
              <a:rPr lang="en-GB" altLang="en-US" sz="1200" smtClean="0">
                <a:solidFill>
                  <a:srgbClr val="000000"/>
                </a:solidFill>
              </a:rPr>
              <a:pPr/>
              <a:t>Region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40836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DEEEA3-A73C-41A9-A212-E10E2CD331C2}" type="datetime'''''R''''''''''''''''egi''''''on'''''' ''''''1'''''''''">
              <a:rPr lang="en-GB" altLang="en-US" sz="1200" smtClean="0">
                <a:solidFill>
                  <a:srgbClr val="000000"/>
                </a:solidFill>
              </a:rPr>
              <a:pPr/>
              <a:t>Region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7631113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DF83F60-2370-493F-879F-22037032A470}" type="datetime'''Re''''''''g''''''''''i''''''''''on'' ''''''''4'''''''''''''">
              <a:rPr lang="en-GB" altLang="en-US" sz="1200" smtClean="0">
                <a:solidFill>
                  <a:srgbClr val="000000"/>
                </a:solidFill>
              </a:rPr>
              <a:pPr/>
              <a:t>Region 4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57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30200" y="4854576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AAD635D-34E2-46CE-9C19-4C3CE9A36267}" type="datetime'''''''Al''''''''i''''gnment'''''''''''' l''''eve''l''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9040813" y="4579938"/>
            <a:ext cx="1406525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CC6AAB7-D6B4-44F0-BF4C-4F6A3C1B3017}" type="datetime'R''e''''''''gi''''''''''''''''o''''n ''''5'''''">
              <a:rPr lang="en-GB" altLang="en-US" sz="1200" smtClean="0">
                <a:solidFill>
                  <a:srgbClr val="000000"/>
                </a:solidFill>
              </a:rPr>
              <a:pPr/>
              <a:t>Region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447338" y="4579938"/>
            <a:ext cx="140970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D42E224-4860-4533-ADB1-6E75D3381C5A}" type="datetime'''''''''Re''g''''i''''on'''''''''' ''6'''''">
              <a:rPr lang="en-GB" altLang="en-US" sz="1200" smtClean="0">
                <a:solidFill>
                  <a:srgbClr val="000000"/>
                </a:solidFill>
              </a:rPr>
              <a:pPr/>
              <a:t>Region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99866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502A27C-2B03-4163-88AE-8BB9AA1B6C8D}" type="datetime'''''''2''0'''''' %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340836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70E32AB-52A4-41E9-85D6-67838D1D1E8E}" type="datetime'''''''''''''''''''''''''''''''''8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481488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C1532F-E301-4736-83FE-8E3ED66D130D}" type="datetime'''''''''''''''''''3''''6'''''''''''''' 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6224589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CE0D2F-9C64-4820-B135-A14E29C41A1E}" type="datetime'''''''''''''''''''6'''''' ''''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31113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6594A3-BF75-48D7-9FA5-86F859AE3A49}" type="datetime'''''''''0'''''''''''''''''''''' 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9040813" y="4854576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549BCA-B804-440F-8D0D-63548FC51547}" type="datetime'5''''''''''''''''7'''''' 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0447338" y="4854576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17F781-A1BA-4BC8-B6FB-E531131F490B}" type="datetime'''''''''''''3''3'' ''''''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3417005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0" name="btfpRunningAgenda1Level573689">
            <a:extLst>
              <a:ext uri="{FF2B5EF4-FFF2-40B4-BE49-F238E27FC236}">
                <a16:creationId xmlns:a16="http://schemas.microsoft.com/office/drawing/2014/main" id="{123F49C4-9FDA-8297-7858-8B96A4B9EC4C}"/>
              </a:ext>
            </a:extLst>
          </p:cNvPr>
          <p:cNvGrpSpPr/>
          <p:nvPr>
            <p:custDataLst>
              <p:tags r:id="rId68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32" name="btfpRunningAgenda1LevelBarLeft573689">
              <a:extLst>
                <a:ext uri="{FF2B5EF4-FFF2-40B4-BE49-F238E27FC236}">
                  <a16:creationId xmlns:a16="http://schemas.microsoft.com/office/drawing/2014/main" id="{15502DAF-BFB5-1359-064F-410ECACB1C10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3" name="btfpRunningAgenda1LevelTextLeft573689">
              <a:extLst>
                <a:ext uri="{FF2B5EF4-FFF2-40B4-BE49-F238E27FC236}">
                  <a16:creationId xmlns:a16="http://schemas.microsoft.com/office/drawing/2014/main" id="{A986CDCC-42DB-2832-4A17-57520EFED496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34" name="btfpBulletedList689396">
            <a:extLst>
              <a:ext uri="{FF2B5EF4-FFF2-40B4-BE49-F238E27FC236}">
                <a16:creationId xmlns:a16="http://schemas.microsoft.com/office/drawing/2014/main" id="{91DCD357-66B2-7F05-BE5C-B3733F3C0AA4}"/>
              </a:ext>
            </a:extLst>
          </p:cNvPr>
          <p:cNvSpPr/>
          <p:nvPr/>
        </p:nvSpPr>
        <p:spPr bwMode="gray">
          <a:xfrm>
            <a:off x="8954100" y="0"/>
            <a:ext cx="3237900" cy="15732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A434C93B-7B68-1D4E-EDD8-AEF9B7BB17AE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330200" y="5219701"/>
            <a:ext cx="30781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3EE9F1F-060C-43B9-8749-BC35A8A97963}" type="datetime'I''''''nveste''d'' ''''c''ap''i''t''''a''''''l ''(''$b''''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Text Placeholder">
            <a:extLst>
              <a:ext uri="{FF2B5EF4-FFF2-40B4-BE49-F238E27FC236}">
                <a16:creationId xmlns:a16="http://schemas.microsoft.com/office/drawing/2014/main" id="{32D3338A-E4B0-EBC9-F826-4BB1F44A3D0A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99866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C417E4-68F7-4ACB-81FF-8FEB79B94030}" type="datetime'9''''''''''''''''''''''''''''''.''''''''''''''''''''''''''0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FFA0BA3-D196-488C-69A2-D27D6FDA674E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40836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602427-CFA6-4BFA-927C-EE53DFA76C6C}" type="datetime'1''''''.''''''0''''''''''''''''''''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345FD94-1582-8C64-37AC-00C5A1430B35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481488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1588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F52C942-C534-4887-96A8-A43630FF1433}" type="datetime'''''''''''''2.0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76E5A1CF-7F3D-FCF2-2F7D-0A23E7D351F1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6224589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D8405A-7C0B-49DB-8413-3BB2E37B0C04}" type="datetime'''''''''''''''''''''''''''''''''''''''''1''''''''.''''''0''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587BE75E-9279-DF2F-962F-4A73C4030176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631113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174C493-FCA1-4E1F-85C6-19A9CD734D97}" type="datetime'1''''''.''''''''''''''''''''''''''''''''''''''''0'">
              <a:rPr lang="en-GB" altLang="en-US" sz="1200" smtClean="0">
                <a:solidFill>
                  <a:srgbClr val="000000"/>
                </a:solidFill>
              </a:rPr>
              <a:pPr/>
              <a:t>1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BB21B0FE-79CA-A58A-D6A4-D9D5D3FB7431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040813" y="5219701"/>
            <a:ext cx="1406525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2525BD2-5B75-4E00-96D2-DAA9352D06E4}" type="datetime'''''''''''''''3''''''''''''''''''''''''.''''0'''">
              <a:rPr lang="en-GB" altLang="en-US" sz="1200" smtClean="0">
                <a:solidFill>
                  <a:srgbClr val="000000"/>
                </a:solidFill>
              </a:rPr>
              <a:pPr/>
              <a:t>3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3DFBF2AE-35BB-862C-5059-720945A76C55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0447338" y="5219701"/>
            <a:ext cx="140970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8BFFE1-8649-49A4-9BA5-DC50DBA6DC61}" type="datetime'''''2''''''''''''''''''''''''.''''''0''''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BB0DE111-9D37-3D80-E110-70B28BF2FD1B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330200" y="5584826"/>
            <a:ext cx="30781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9B555EA-F65F-47E8-81F1-0DDF2D0CDCCC}" type="datetime'Fin''ance''d e''m''i''''s''sion''s (t''''C''O''''2e'''')''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49FCB9AE-6759-A823-C508-07CE458D6366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199866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A735237-4B29-4CFD-8BF0-A5FAFE9DB82D}" type="datetime'''1''''''''''''''''''''''4'''''',8''''0''''''''''''''0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7CB732FB-91DA-58E7-1AA4-7519B6D16DF6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340836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0274722-B91A-43D7-8179-F5A98D9E1C4C}" type="datetime'2'',''''''4''''''''''''''''''''''6''''''''5'''''''''''''''''''">
              <a:rPr lang="en-GB" altLang="en-US" sz="1200" smtClean="0">
                <a:solidFill>
                  <a:srgbClr val="000000"/>
                </a:solidFill>
              </a:rPr>
              <a:pPr/>
              <a:t>2,46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BF261413-3776-8C44-C557-3B6105BAFF4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481488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1588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58C772F-FDEE-4330-8842-A1C0765931E2}" type="datetime'''''2'''''''''',''''''''''''''8''''55'''''''''">
              <a:rPr lang="en-GB" altLang="en-US" sz="1200" smtClean="0">
                <a:solidFill>
                  <a:srgbClr val="000000"/>
                </a:solidFill>
              </a:rPr>
              <a:pPr/>
              <a:t>2,85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53AC9CB1-1813-4B40-B76A-B2BF8A365C5E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6224589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F4FD966-E4F1-4582-A995-70AB77FBA1A5}" type="datetime'''''''''''''1,''''''''''4''''''2''''''''''''''''''0'">
              <a:rPr lang="en-GB" altLang="en-US" sz="1200" smtClean="0">
                <a:solidFill>
                  <a:srgbClr val="000000"/>
                </a:solidFill>
              </a:rPr>
              <a:pPr/>
              <a:t>1,4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05C61F2E-F127-AA39-0875-69565E3DDCBA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631113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CC7DC7-E2F9-4F6B-89AA-9234062D527B}" type="datetime'''''''''''''''1'''''',''''''''4''''''''2''''5'''''''''''''">
              <a:rPr lang="en-GB" altLang="en-US" sz="1200" smtClean="0">
                <a:solidFill>
                  <a:srgbClr val="000000"/>
                </a:solidFill>
              </a:rPr>
              <a:pPr/>
              <a:t>1,42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B97FC976-72E8-7FF1-6CC9-1CE30C0FE45C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9040813" y="5584826"/>
            <a:ext cx="140652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4F9C1BF-7EB7-476B-90D6-0347736BC315}" type="datetime'''''''''''''''''''''''3'''''',''''''870'">
              <a:rPr lang="en-GB" altLang="en-US" sz="1200" smtClean="0">
                <a:solidFill>
                  <a:srgbClr val="000000"/>
                </a:solidFill>
              </a:rPr>
              <a:pPr/>
              <a:t>3,8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3CB465B2-5A55-DA3F-32AE-E29B3A4AB160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0447338" y="5584826"/>
            <a:ext cx="140970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B1F15D-0BC9-4AA2-8017-18DE2F8EC685}" type="datetime'''2'''',''''''6''''''''''8''''''''''''''''''''8'''''''">
              <a:rPr lang="en-GB" altLang="en-US" sz="1200" smtClean="0">
                <a:solidFill>
                  <a:srgbClr val="000000"/>
                </a:solidFill>
              </a:rPr>
              <a:pPr/>
              <a:t>2,68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2535898-0BCC-6600-0D2F-96D457CF9CC4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2</a:t>
            </a:r>
          </a:p>
        </p:txBody>
      </p:sp>
      <p:sp>
        <p:nvSpPr>
          <p:cNvPr id="35" name="btfpNotesBox885677">
            <a:extLst>
              <a:ext uri="{FF2B5EF4-FFF2-40B4-BE49-F238E27FC236}">
                <a16:creationId xmlns:a16="http://schemas.microsoft.com/office/drawing/2014/main" id="{BC1A777F-EF8C-E324-466E-78831AD8BE93}"/>
              </a:ext>
            </a:extLst>
          </p:cNvPr>
          <p:cNvSpPr txBox="1"/>
          <p:nvPr>
            <p:custDataLst>
              <p:tags r:id="rId8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962708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4B3AED-89CE-F939-7B92-30090AAFA9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6488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8" imgW="484" imgH="486" progId="TCLayout.ActiveDocument.1">
                  <p:embed/>
                </p:oleObj>
              </mc:Choice>
              <mc:Fallback>
                <p:oleObj name="think-cell Slide" r:id="rId98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4B3AED-89CE-F939-7B92-30090AAFA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1441015-3C9B-0A6A-16C5-981C52B0A0F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480602">
              <a:extLst>
                <a:ext uri="{FF2B5EF4-FFF2-40B4-BE49-F238E27FC236}">
                  <a16:creationId xmlns:a16="http://schemas.microsoft.com/office/drawing/2014/main" id="{C8D36A64-2644-E83C-0511-59F1E71E36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690427">
              <a:extLst>
                <a:ext uri="{FF2B5EF4-FFF2-40B4-BE49-F238E27FC236}">
                  <a16:creationId xmlns:a16="http://schemas.microsoft.com/office/drawing/2014/main" id="{57F6D00F-CB32-B1FA-E821-8A3789DF92B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655538">
              <a:extLst>
                <a:ext uri="{FF2B5EF4-FFF2-40B4-BE49-F238E27FC236}">
                  <a16:creationId xmlns:a16="http://schemas.microsoft.com/office/drawing/2014/main" id="{B8B5571D-4583-2132-B266-23E33412B3F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93249">
              <a:extLst>
                <a:ext uri="{FF2B5EF4-FFF2-40B4-BE49-F238E27FC236}">
                  <a16:creationId xmlns:a16="http://schemas.microsoft.com/office/drawing/2014/main" id="{455D9FE7-0536-30B6-37A7-A81952A80B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4933A599-89D8-A02E-9BA4-46090098E19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258882">
              <a:extLst>
                <a:ext uri="{FF2B5EF4-FFF2-40B4-BE49-F238E27FC236}">
                  <a16:creationId xmlns:a16="http://schemas.microsoft.com/office/drawing/2014/main" id="{A99A5C91-616C-249A-9BF2-B420A8E9524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6902">
              <a:extLst>
                <a:ext uri="{FF2B5EF4-FFF2-40B4-BE49-F238E27FC236}">
                  <a16:creationId xmlns:a16="http://schemas.microsoft.com/office/drawing/2014/main" id="{9B1A01DC-1E26-52A6-1B7B-1499238E331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86611">
              <a:extLst>
                <a:ext uri="{FF2B5EF4-FFF2-40B4-BE49-F238E27FC236}">
                  <a16:creationId xmlns:a16="http://schemas.microsoft.com/office/drawing/2014/main" id="{C9D99DEE-02A1-21A0-B5D9-847157B1007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06905">
              <a:extLst>
                <a:ext uri="{FF2B5EF4-FFF2-40B4-BE49-F238E27FC236}">
                  <a16:creationId xmlns:a16="http://schemas.microsoft.com/office/drawing/2014/main" id="{9BCD5FF5-4364-8886-ECA1-CC1F8792246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675C25-E215-0CD6-CF33-870FD3C4B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rtCo alignment development by invested capital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6D38D4DD-E5F7-878F-964D-9A79A543328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06343138"/>
              </p:ext>
            </p:extLst>
          </p:nvPr>
        </p:nvGraphicFramePr>
        <p:xfrm>
          <a:off x="914400" y="1603375"/>
          <a:ext cx="11025188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0"/>
          </a:graphicData>
        </a:graphic>
      </p:graphicFrame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88C7D5F-2BED-630C-C6A0-3DF592E82D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33412" y="5141913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04DA27D-7E01-44C7-9468-5480F22E7630}" type="datetime'0'''''''''''''''''''' ''''''''''%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E678CE96-190D-54C5-E3EF-504154CBC685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49275" y="44323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93818C6-BE05-46A5-B467-2A5C9EBB9574}" type="datetime'''''''''''2''''''''''''''0'''''''''''''''' 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7A6D78D1-5862-4202-65B6-2698EA172022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49275" y="37226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879F7FF-DC10-477D-A2CC-56E705C4820A}" type="datetime'4''0'''''' ''''''''''''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82F38B11-33B4-0972-2C06-4AF612A9A30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49275" y="301466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29CFDC9-B30F-4626-97B7-E15225F2F69B}" type="datetime'''''''''6''''''''''''''''''''0'''''' 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8FFFD3BB-F5B9-F107-00FB-9CD46F651823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49275" y="230505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915FC6E-CB3B-4DBA-ACD2-642C1D3DB6D9}" type="datetime'''8''''0'''''''''''''''''''''''''''' %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D31A9663-9221-E711-4B5C-133AA3659A6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65138" y="1595438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A805A1D-0CB0-48E9-BBD7-AC4B5146F4EA}" type="datetime'''''''''''''''1''''''0''''''''''''0'' 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A9A537F-3870-AC3F-C746-1FBBB2AD74D8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167938" y="3759200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50A884CF-A687-08F8-E2E8-3DCC20D20119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67938" y="4059238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15AF010-C5FF-1C4A-786A-60D85CAFDCD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67938" y="35782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F6DA88B1-F3FF-1412-ABB7-7572D34D295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67938" y="316865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71E17A22-F76A-E961-558F-EAB3BC4964C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0167938" y="2747963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83DF6E11-812A-0E8F-20AD-4E8A6462854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167938" y="264795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DEA6B76-A0DD-E610-3ADB-16A98DD68FB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White">
          <a:xfrm>
            <a:off x="7996238" y="4821238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1A8B763-0E05-3092-01D5-4EBA832699D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996238" y="4102100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D6E3FAA-465A-1DAA-2C54-EA5DECB7E21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996238" y="384492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283C7CD0-275B-B469-F05E-E6428A5B8A8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996238" y="363855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885E519-1ECE-6CBB-98C7-B96F965A95C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7996238" y="3125788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:a16="http://schemas.microsoft.com/office/drawing/2014/main" id="{4507EC0A-BEC3-E04D-D330-103765313E0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7996238" y="2714625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:a16="http://schemas.microsoft.com/office/drawing/2014/main" id="{25310EBC-8CB2-9506-6BA2-9545ABAF4B0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7996238" y="2611438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B113718-1CF2-C4B5-ADF4-328D430E41A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White">
          <a:xfrm>
            <a:off x="5822950" y="4821238"/>
            <a:ext cx="1208088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22F618A-400F-B9B5-907C-9C62C1189C1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822950" y="4102100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08DA7D1C-462D-B2FD-EB10-F9A2579DF1B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5822950" y="3844925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1EA76E43-063C-1D26-303B-30F29A80485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5822950" y="3638550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D1B3EEB-AFD8-7E8B-D41F-80A41F1C4A2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5822950" y="3125788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0045613-77CD-0BCF-69D6-25FC4DDE5AB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5822950" y="2611438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2F2663C4-4EF8-9551-AFAA-B5910341212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5822950" y="2714625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EDC4D4A1-A95F-97A2-C8C6-55C2926D579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White">
          <a:xfrm>
            <a:off x="3651250" y="4914900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831C77BF-8BD4-9ACC-14A9-029FBF4F7A5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651250" y="3486150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A014218E-440E-1A41-E6A4-C815BF97744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651250" y="374967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:a16="http://schemas.microsoft.com/office/drawing/2014/main" id="{5A4CD7D5-DAB8-E313-6794-2FA5C466453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3651250" y="32734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:a16="http://schemas.microsoft.com/office/drawing/2014/main" id="{90137937-1FBB-3612-F5A5-46567493FB96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3651250" y="2744788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B14CA7D1-90BA-4370-2E47-3340250563A4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3651250" y="2214563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3B48EAF4-1A93-2A45-6F14-6A30B89660E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3651250" y="2320925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E9E4A5C-B237-0B35-1A03-7021B4C3998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White">
          <a:xfrm>
            <a:off x="1479550" y="4360863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855D5B4-ECD0-159C-FAA7-58BCC7CEE95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479550" y="3490913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7184725C-F8E3-82EB-2C5F-49BC3856A1E9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479550" y="3179763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:a16="http://schemas.microsoft.com/office/drawing/2014/main" id="{EF550EAA-DAC2-121E-EA7D-34678A7A0C6A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479550" y="23082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CAE78BC9-FBD6-DCBE-D48E-A44CD51D8FB1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479550" y="29305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CEA058C-9854-BBAC-2A57-4ADA2C67FAC1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479550" y="180975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4DDAC405-C845-7951-5BE5-3632113459F8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465138" y="1270000"/>
            <a:ext cx="45085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Co alignment development by invested capital, 2019-2023 (%) </a:t>
            </a:r>
          </a:p>
        </p:txBody>
      </p:sp>
      <p:sp>
        <p:nvSpPr>
          <p:cNvPr id="414" name="Text Placeholder">
            <a:extLst>
              <a:ext uri="{FF2B5EF4-FFF2-40B4-BE49-F238E27FC236}">
                <a16:creationId xmlns:a16="http://schemas.microsoft.com/office/drawing/2014/main" id="{644814EE-595E-109D-3990-34B3FC9F7903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760538" y="1657350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5CBA3B-8520-4FA3-8B63-BEE0E003EDB6}" type="datetime'''''''''P''''''o''''rt''Co'''' 8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2" name="Text Placeholder">
            <a:extLst>
              <a:ext uri="{FF2B5EF4-FFF2-40B4-BE49-F238E27FC236}">
                <a16:creationId xmlns:a16="http://schemas.microsoft.com/office/drawing/2014/main" id="{8AFDDC7A-401E-9EA0-7375-F064AC4DC70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760538" y="19685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6F5B37-87B6-45FA-89FB-0D9235E79577}" type="datetime'''''''Po''''''rt''''''''''''''''''''''''''''''C''o'' ''7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88" name="Text Placeholder">
            <a:extLst>
              <a:ext uri="{FF2B5EF4-FFF2-40B4-BE49-F238E27FC236}">
                <a16:creationId xmlns:a16="http://schemas.microsoft.com/office/drawing/2014/main" id="{7BE8FD78-D3C3-0768-3076-FEC0B8FD493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1760538" y="2528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43491-6A30-4C5B-8AEA-1554251AF8AC}" type="datetime'''''Po''''''''''r''tC''''o'''''''''' 6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3" name="Text Placeholder">
            <a:extLst>
              <a:ext uri="{FF2B5EF4-FFF2-40B4-BE49-F238E27FC236}">
                <a16:creationId xmlns:a16="http://schemas.microsoft.com/office/drawing/2014/main" id="{A803D05A-CDAC-2120-54D8-8E0E63763AE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60538" y="29638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63489EF-697B-4BFD-B08E-F1A7F19BF58A}" type="datetime'''''Po''r''''t''''''C''''o'' ''5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2" name="Text Placeholder">
            <a:extLst>
              <a:ext uri="{FF2B5EF4-FFF2-40B4-BE49-F238E27FC236}">
                <a16:creationId xmlns:a16="http://schemas.microsoft.com/office/drawing/2014/main" id="{210EFAC2-EC8E-1365-4FD0-3EC4FCCED4BB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760538" y="32448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B5D27A-D195-46BA-A2DB-EA63368336DC}" type="datetime'''''''''''Po''''r''''''''''''''t''''Co'' ''''''''4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8" name="Text Placeholder">
            <a:extLst>
              <a:ext uri="{FF2B5EF4-FFF2-40B4-BE49-F238E27FC236}">
                <a16:creationId xmlns:a16="http://schemas.microsoft.com/office/drawing/2014/main" id="{F1BA280F-F523-2575-C79C-AE49079733DD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103938" y="28289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2E6870-0064-454C-8A1F-2BA4EB8F3FE4}" type="datetime'''P''''''''''''''o''rt''''C''''''''''''''o'''''' 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46" name="Text Placeholder">
            <a:extLst>
              <a:ext uri="{FF2B5EF4-FFF2-40B4-BE49-F238E27FC236}">
                <a16:creationId xmlns:a16="http://schemas.microsoft.com/office/drawing/2014/main" id="{F9626A26-B6B5-6494-E440-6F02DD69365F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103938" y="3290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1F4804-D61D-4FF9-A8F8-D3433B897B87}" type="datetime'Port''''''''''C''''''o'' ''''''''''''''''''''''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7" name="Text Placeholder">
            <a:extLst>
              <a:ext uri="{FF2B5EF4-FFF2-40B4-BE49-F238E27FC236}">
                <a16:creationId xmlns:a16="http://schemas.microsoft.com/office/drawing/2014/main" id="{654B8ABC-0344-0AA9-1823-69E542A965EE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6103938" y="36512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E9CAB8-DC14-4F19-ABB9-884FB8A4BF06}" type="datetime'''''Por''t''''''''''''''''''''''C''''o'' ''5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9" name="Text Placeholder">
            <a:extLst>
              <a:ext uri="{FF2B5EF4-FFF2-40B4-BE49-F238E27FC236}">
                <a16:creationId xmlns:a16="http://schemas.microsoft.com/office/drawing/2014/main" id="{E2EEB48D-43CD-CD30-62E3-D08A8A88119F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6103938" y="2571750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1B873E-6037-49E0-99C2-06268FDA72AC}" type="datetime'''''''P''''''''o''''r''tCo'''''''''' ''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1" name="Text Placeholder">
            <a:extLst>
              <a:ext uri="{FF2B5EF4-FFF2-40B4-BE49-F238E27FC236}">
                <a16:creationId xmlns:a16="http://schemas.microsoft.com/office/drawing/2014/main" id="{6338F495-2C5F-9416-8890-03B62570FFE5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103938" y="2263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7BEA4F-711C-4300-A960-7775532E5C90}" type="datetime'''P''''''''''''''''o''r''t''C''o'''' ''9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5" name="Text Placeholder">
            <a:extLst>
              <a:ext uri="{FF2B5EF4-FFF2-40B4-BE49-F238E27FC236}">
                <a16:creationId xmlns:a16="http://schemas.microsoft.com/office/drawing/2014/main" id="{83E872CE-D407-8F79-58FA-027E37025CE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6103938" y="38830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782D1E-76BF-439F-9F3C-2CAADE274B3B}" type="datetime'''''''''''''''''P''o''''''''''''''''''''rt''Co ''''''4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4" name="Text Placeholder">
            <a:extLst>
              <a:ext uri="{FF2B5EF4-FFF2-40B4-BE49-F238E27FC236}">
                <a16:creationId xmlns:a16="http://schemas.microsoft.com/office/drawing/2014/main" id="{801040D3-46D6-D36D-256C-94D7AB0FF63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103938" y="43703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4DC625-B92E-428A-BE4D-D14E28E3CBA3}" type="datetime'Po''''''''''r''tC''''o'''''''' ''''''''3'''''''''">
              <a:rPr lang="en-GB" altLang="en-US" sz="1200" smtClean="0"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/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9894650-E9EB-95B7-8DDD-2B7795B59219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062663" y="180022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4D81783-5148-498B-8E7C-487C47A1B9A4}" type="datetime'''''''''''''P''o''''''''''''''''''r''''tC''''o'''''''' 10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3" name="Text Placeholder">
            <a:extLst>
              <a:ext uri="{FF2B5EF4-FFF2-40B4-BE49-F238E27FC236}">
                <a16:creationId xmlns:a16="http://schemas.microsoft.com/office/drawing/2014/main" id="{65845199-1240-BEF7-FEFE-C2AD50FE841C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6103938" y="4935538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C3ACA7-87CF-4C6A-8266-0BE135668F21}" type="datetime'Po''''''''rt''''''''''''''C''''''''o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6" name="Text Placeholder">
            <a:extLst>
              <a:ext uri="{FF2B5EF4-FFF2-40B4-BE49-F238E27FC236}">
                <a16:creationId xmlns:a16="http://schemas.microsoft.com/office/drawing/2014/main" id="{EA24CAEA-70DE-0D12-A343-B2553B6C2A41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62515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C8022E-4096-4572-B523-177B401CD2FF}" type="datetime'''2''''''''''''''''''''0''2''''''''''1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2" name="Text Placeholder">
            <a:extLst>
              <a:ext uri="{FF2B5EF4-FFF2-40B4-BE49-F238E27FC236}">
                <a16:creationId xmlns:a16="http://schemas.microsoft.com/office/drawing/2014/main" id="{4506F795-7030-CAB9-141A-CAE3FD712F4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235950" y="180022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9BC11E-BF76-475A-8A9B-61EFE17A26E3}" type="datetime'''''P''''''''''''''''or''''''t''''''''''C''o'' 1''0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0" name="Text Placeholder">
            <a:extLst>
              <a:ext uri="{FF2B5EF4-FFF2-40B4-BE49-F238E27FC236}">
                <a16:creationId xmlns:a16="http://schemas.microsoft.com/office/drawing/2014/main" id="{F0392582-E4B9-B872-E064-BDAED74FBE8E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8277225" y="2263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E0DF15-1B3C-4CD7-AF3E-C0C1786BEBB4}" type="datetime'''''''''''Po''''''''r''''''t''''''C''''o'''' ''9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95" name="Text Placeholder">
            <a:extLst>
              <a:ext uri="{FF2B5EF4-FFF2-40B4-BE49-F238E27FC236}">
                <a16:creationId xmlns:a16="http://schemas.microsoft.com/office/drawing/2014/main" id="{80E1A659-AB49-2849-24D6-71E7E1B59E98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40798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DA8FD0-E208-4795-BBDC-172332F31C7A}" type="datetime'''''''''''''''2''''''''''''''''''0''20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2" name="Text Placeholder">
            <a:extLst>
              <a:ext uri="{FF2B5EF4-FFF2-40B4-BE49-F238E27FC236}">
                <a16:creationId xmlns:a16="http://schemas.microsoft.com/office/drawing/2014/main" id="{B9B7040D-9693-FB95-39FC-93057FDAA6E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3932238" y="49831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FD856D-6990-443A-812C-4DB06462EC29}" type="datetime'''''Po''''''''''r''''''t''''''''''C''''o ''''''''''''''''''1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9" name="Text Placeholder">
            <a:extLst>
              <a:ext uri="{FF2B5EF4-FFF2-40B4-BE49-F238E27FC236}">
                <a16:creationId xmlns:a16="http://schemas.microsoft.com/office/drawing/2014/main" id="{37613CB3-AD79-D17E-E441-E24EF5F1F7DF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8277225" y="2571750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D166F83-71F9-4CCE-BC6E-25818E76C54E}" type="datetime'''''''P''''''''''''''o''''''''''r''t''''''C''o'' ''8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77" name="Text Placeholder">
            <a:extLst>
              <a:ext uri="{FF2B5EF4-FFF2-40B4-BE49-F238E27FC236}">
                <a16:creationId xmlns:a16="http://schemas.microsoft.com/office/drawing/2014/main" id="{18476FE9-27D4-AD6A-7CA0-B2C4323E253B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8277225" y="28289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E6F1EA-A45C-42B7-813B-525712D8F4F5}" type="datetime'''P''''''''''o''rt''''''''Co'' ''''''''''''''''''''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3" name="Text Placeholder">
            <a:extLst>
              <a:ext uri="{FF2B5EF4-FFF2-40B4-BE49-F238E27FC236}">
                <a16:creationId xmlns:a16="http://schemas.microsoft.com/office/drawing/2014/main" id="{9ADDAA87-A748-F4DD-35FB-53C05AE855BF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3932238" y="46116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48B085-9490-47A1-A241-F275CFF3B2C7}" type="datetime'''''P''''''''''''or''''''''''''''tC''''''''''''''o'''' 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5" name="Text Placeholder">
            <a:extLst>
              <a:ext uri="{FF2B5EF4-FFF2-40B4-BE49-F238E27FC236}">
                <a16:creationId xmlns:a16="http://schemas.microsoft.com/office/drawing/2014/main" id="{755DDC48-52F7-B2BF-DA01-F57BA79268CA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3932238" y="35274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4F7408-78EA-427F-AEEC-FBFE2033C486}" type="datetime'''Po''''r''''t''C''''''''''o'''''''''''''''' 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98" name="Text Placeholder">
            <a:extLst>
              <a:ext uri="{FF2B5EF4-FFF2-40B4-BE49-F238E27FC236}">
                <a16:creationId xmlns:a16="http://schemas.microsoft.com/office/drawing/2014/main" id="{2A941DC2-2C3C-5713-480E-86094C2090A3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277225" y="3290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8E68AA-1B85-4089-93F4-056AE4AE7698}" type="datetime'''P''''''''''''or''t''C''''''''''''''''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6" name="Text Placeholder">
            <a:extLst>
              <a:ext uri="{FF2B5EF4-FFF2-40B4-BE49-F238E27FC236}">
                <a16:creationId xmlns:a16="http://schemas.microsoft.com/office/drawing/2014/main" id="{23385A7E-4080-D0F5-F9FE-8913CFDEA739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277225" y="36512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14F428-D642-4BD6-955C-B78BDA13326B}" type="datetime'''''''Por''''''t''C''''''''o''''''''''''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35" name="Text Placeholder">
            <a:extLst>
              <a:ext uri="{FF2B5EF4-FFF2-40B4-BE49-F238E27FC236}">
                <a16:creationId xmlns:a16="http://schemas.microsoft.com/office/drawing/2014/main" id="{180A2E74-F605-072A-183B-A8EAE85B7618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3932238" y="32893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6F8B20-D4E5-4367-9BA1-43EA6C575F2E}" type="datetime'P''''''''o''''r''''''''t''C''o'''''' ''''''''''''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6" name="Text Placeholder">
            <a:extLst>
              <a:ext uri="{FF2B5EF4-FFF2-40B4-BE49-F238E27FC236}">
                <a16:creationId xmlns:a16="http://schemas.microsoft.com/office/drawing/2014/main" id="{FDE9C4E3-73E6-E06E-CC0E-188BB9A4394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3932238" y="29178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2920D5-E8D4-4578-A712-2341A57AC1B2}" type="datetime'Por''''''''''t''''Co'''''''''''''''''''' ''''''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5" name="Text Placeholder">
            <a:extLst>
              <a:ext uri="{FF2B5EF4-FFF2-40B4-BE49-F238E27FC236}">
                <a16:creationId xmlns:a16="http://schemas.microsoft.com/office/drawing/2014/main" id="{B0313C73-506F-1C01-5C7F-7C7984C92FC8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8277225" y="38830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DC1001-870B-4EC6-BA73-3ABA6C8110ED}" type="datetime'''''P''''''''o''rt''''C''''o'''''''' ''''''''4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9" name="Text Placeholder">
            <a:extLst>
              <a:ext uri="{FF2B5EF4-FFF2-40B4-BE49-F238E27FC236}">
                <a16:creationId xmlns:a16="http://schemas.microsoft.com/office/drawing/2014/main" id="{065CFA20-C2FE-45F8-3687-D2D7A763A98A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8277225" y="43703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91D16F-14B3-441E-B9B9-F733CD0E6F2A}" type="datetime'''''''''''''''P''''''o''''''''r''''tCo'' ''''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7" name="Text Placeholder">
            <a:extLst>
              <a:ext uri="{FF2B5EF4-FFF2-40B4-BE49-F238E27FC236}">
                <a16:creationId xmlns:a16="http://schemas.microsoft.com/office/drawing/2014/main" id="{BF9E2EEE-3601-136B-AE9C-FBC4E98DA304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3932238" y="24415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BB3ECA-8FA3-40B7-9879-AD633610766A}" type="datetime'''''''Po''''r''t''''''''''C''''''o'' ''''7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52" name="Text Placeholder">
            <a:extLst>
              <a:ext uri="{FF2B5EF4-FFF2-40B4-BE49-F238E27FC236}">
                <a16:creationId xmlns:a16="http://schemas.microsoft.com/office/drawing/2014/main" id="{7E18EE19-93E3-B20E-C786-564F0D81EB2D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8277225" y="4935538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ACC29C-4ED9-4CFC-8990-F6098C8D5A18}" type="datetime'''''''''''Por''''''''t''''''''C''''''''''''''''''o ''''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7" name="Text Placeholder">
            <a:extLst>
              <a:ext uri="{FF2B5EF4-FFF2-40B4-BE49-F238E27FC236}">
                <a16:creationId xmlns:a16="http://schemas.microsoft.com/office/drawing/2014/main" id="{8671314C-A52A-A87C-AD85-B79C03F6091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84248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8F2263-7C8F-4417-9FB5-0CAF3B66EE82}" type="datetime'2''''''''''0''''''''''''''''''''''2''''''''2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7" name="Text Placeholder">
            <a:extLst>
              <a:ext uri="{FF2B5EF4-FFF2-40B4-BE49-F238E27FC236}">
                <a16:creationId xmlns:a16="http://schemas.microsoft.com/office/drawing/2014/main" id="{B50EC9B6-058C-8AB6-D299-3EC4C8A14D4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0407650" y="182086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4D0C99-F8E9-43BF-86DB-3FFEE9EDCD26}" type="datetime'''''''''''''P''o''rt''''C''''''''''''''o'' ''''''''''''1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70" name="Text Placeholder">
            <a:extLst>
              <a:ext uri="{FF2B5EF4-FFF2-40B4-BE49-F238E27FC236}">
                <a16:creationId xmlns:a16="http://schemas.microsoft.com/office/drawing/2014/main" id="{77CBBDFB-AC1A-AE42-9999-8425490E5EE7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10448925" y="23018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0DD726-595E-47EF-8171-29CD74D62E7F}" type="datetime'''P''''''''''''''''''o''''''''r''t''''''''''C''''''''''o 9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9" name="Text Placeholder">
            <a:extLst>
              <a:ext uri="{FF2B5EF4-FFF2-40B4-BE49-F238E27FC236}">
                <a16:creationId xmlns:a16="http://schemas.microsoft.com/office/drawing/2014/main" id="{9B1379E0-CE5E-ECBD-F20C-B517F6327884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3932238" y="2176463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82B29C-848E-4471-89FF-71461353AE24}" type="datetime'''''''Port''''''''''''''C''o'''''' 8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2FBFAF08-D72E-BAD0-9C97-9C68AFB3C671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3932238" y="1858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13FD0E-F075-448A-9006-8A0FF1548BC2}" type="datetime'P''''''''''''or''t''''''Co'' ''''''9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5" name="Text Placeholder">
            <a:extLst>
              <a:ext uri="{FF2B5EF4-FFF2-40B4-BE49-F238E27FC236}">
                <a16:creationId xmlns:a16="http://schemas.microsoft.com/office/drawing/2014/main" id="{93C414FA-76E6-926A-7142-3E3B4127332A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0448925" y="2606675"/>
            <a:ext cx="644525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34FCE9-0B20-4F2E-94F5-938904715A15}" type="datetime'P''''''o''''r''''''''''''t''''''''C''o'''' 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4" name="Text Placeholder">
            <a:extLst>
              <a:ext uri="{FF2B5EF4-FFF2-40B4-BE49-F238E27FC236}">
                <a16:creationId xmlns:a16="http://schemas.microsoft.com/office/drawing/2014/main" id="{A1C3B422-29D6-1D78-8DE6-0240AAA41527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3932238" y="40290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622C4-4B30-4C8E-B3A4-75A4C1AAB17B}" type="datetime'''P''''o''''''''r''t''''''''''''''C''''''o'' 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3" name="Text Placeholder">
            <a:extLst>
              <a:ext uri="{FF2B5EF4-FFF2-40B4-BE49-F238E27FC236}">
                <a16:creationId xmlns:a16="http://schemas.microsoft.com/office/drawing/2014/main" id="{E198A091-AF22-6F50-FC01-5C8E3FB157AD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19081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A5F56A-9E3B-4699-AC5C-390B4A3E3FAE}" type="datetime'''2''''0''''''1''''''''''''9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6" name="Text Placeholder">
            <a:extLst>
              <a:ext uri="{FF2B5EF4-FFF2-40B4-BE49-F238E27FC236}">
                <a16:creationId xmlns:a16="http://schemas.microsoft.com/office/drawing/2014/main" id="{BB7A08DB-186A-EC6E-3BA1-597AA8B5D2B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1760538" y="49545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53168E-345C-445B-BB75-57028B306059}" type="datetime'''''''Po''''''''rtC''''''''o'' ''''1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9" name="Text Placeholder">
            <a:extLst>
              <a:ext uri="{FF2B5EF4-FFF2-40B4-BE49-F238E27FC236}">
                <a16:creationId xmlns:a16="http://schemas.microsoft.com/office/drawing/2014/main" id="{C6765EDE-1161-24FE-CB41-02F89A7E41BA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0448925" y="32829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599263-7585-49F9-BB54-458264733A6F}" type="datetime'''''''''P''''o''''''''''''''r''t''''C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03" name="Text Placeholder">
            <a:extLst>
              <a:ext uri="{FF2B5EF4-FFF2-40B4-BE49-F238E27FC236}">
                <a16:creationId xmlns:a16="http://schemas.microsoft.com/office/drawing/2014/main" id="{A979ACD5-A05E-763E-26C9-EBDE3FE04CDC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10448925" y="35782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D5F270-6BA6-4061-BB7C-2F95B680D446}" type="datetime'''''''''P''''''''or''''''''''''t''''C''o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0" name="Text Placeholder">
            <a:extLst>
              <a:ext uri="{FF2B5EF4-FFF2-40B4-BE49-F238E27FC236}">
                <a16:creationId xmlns:a16="http://schemas.microsoft.com/office/drawing/2014/main" id="{888A8438-7C8D-481C-3D16-2B3BD2CAD12F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1760538" y="45196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465FAF-BE9A-4E02-9BC6-EDAAB7FB032D}" type="datetime'''''''Po''''''''r''''tC''''''''''''''''''''''o ''''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7" name="Text Placeholder">
            <a:extLst>
              <a:ext uri="{FF2B5EF4-FFF2-40B4-BE49-F238E27FC236}">
                <a16:creationId xmlns:a16="http://schemas.microsoft.com/office/drawing/2014/main" id="{52BD0859-7263-9DF7-1588-FB3B2ADE0868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1760538" y="38354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F177B5-40E3-48A8-927D-24CDDBAD6946}" type="datetime'''''P''''''''''o''''''r''''''''''''''''''''''''''tCo 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2" name="Text Placeholder">
            <a:extLst>
              <a:ext uri="{FF2B5EF4-FFF2-40B4-BE49-F238E27FC236}">
                <a16:creationId xmlns:a16="http://schemas.microsoft.com/office/drawing/2014/main" id="{79E63064-A4DB-2A7F-56EF-B6253D24EC31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10448925" y="38179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234760-CA38-4425-9771-04F224A1EBF5}" type="datetime'''''''''''P''o''''r''t''''''''''C''''''''''''''o ''''''4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068" name="Text Placeholder">
            <a:extLst>
              <a:ext uri="{FF2B5EF4-FFF2-40B4-BE49-F238E27FC236}">
                <a16:creationId xmlns:a16="http://schemas.microsoft.com/office/drawing/2014/main" id="{4F23FBB5-8009-AF41-494B-668DCCCE519B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0448925" y="4344988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E59534-7C17-4D40-9509-5AD090D7DC19}" type="datetime'P''''''''''o''r''''''t''''''C''''''''''''''o'''''' ''3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67" name="Text Placeholder">
            <a:extLst>
              <a:ext uri="{FF2B5EF4-FFF2-40B4-BE49-F238E27FC236}">
                <a16:creationId xmlns:a16="http://schemas.microsoft.com/office/drawing/2014/main" id="{9F9451D0-9449-2E47-8C01-80A77FE06742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10448925" y="4930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FB22C0-1352-45CF-95B7-E4B9534868AC}" type="datetime'P''''''or''''''''''t''''''''''Co'''''''''''''' 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8" name="Text Placeholder">
            <a:extLst>
              <a:ext uri="{FF2B5EF4-FFF2-40B4-BE49-F238E27FC236}">
                <a16:creationId xmlns:a16="http://schemas.microsoft.com/office/drawing/2014/main" id="{A4E3E9FF-659D-F35F-5B67-1EC8EA4AE875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105965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B0E347-A243-4D55-B507-80E541B2056D}" type="datetime'''''''2''''02''''''''''3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3" name="Text Placeholder">
            <a:extLst>
              <a:ext uri="{FF2B5EF4-FFF2-40B4-BE49-F238E27FC236}">
                <a16:creationId xmlns:a16="http://schemas.microsoft.com/office/drawing/2014/main" id="{F1D4C098-6A02-642A-FF29-D0E6B0C821CD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10448925" y="28670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BD2F8F-5555-42A6-B70B-D71E1C860067}" type="datetime'''''''''P''''o''''''r''t''''''''C''''''''''o'''''''' 7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52F3ABFA-E393-8892-6A67-C52126B10E9C}"/>
              </a:ext>
            </a:extLst>
          </p:cNvPr>
          <p:cNvGrpSpPr/>
          <p:nvPr>
            <p:custDataLst>
              <p:tags r:id="rId9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20" name="btfpStatusStickerText352542">
              <a:extLst>
                <a:ext uri="{FF2B5EF4-FFF2-40B4-BE49-F238E27FC236}">
                  <a16:creationId xmlns:a16="http://schemas.microsoft.com/office/drawing/2014/main" id="{FBC39A0F-A61D-B6BF-A99F-CEBA4C43BAC9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1" name="btfpStatusStickerLine352542">
              <a:extLst>
                <a:ext uri="{FF2B5EF4-FFF2-40B4-BE49-F238E27FC236}">
                  <a16:creationId xmlns:a16="http://schemas.microsoft.com/office/drawing/2014/main" id="{E27A0473-BEC9-3815-0685-0E303C09F1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2" name="Rectangle 1001">
            <a:extLst>
              <a:ext uri="{FF2B5EF4-FFF2-40B4-BE49-F238E27FC236}">
                <a16:creationId xmlns:a16="http://schemas.microsoft.com/office/drawing/2014/main" id="{782EAD6C-57C1-B875-7382-984BC4AC74AC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5" name="btfpRunningAgenda1Level573689">
            <a:extLst>
              <a:ext uri="{FF2B5EF4-FFF2-40B4-BE49-F238E27FC236}">
                <a16:creationId xmlns:a16="http://schemas.microsoft.com/office/drawing/2014/main" id="{BF9ECFC7-0353-7C97-9931-2E3C1034249A}"/>
              </a:ext>
            </a:extLst>
          </p:cNvPr>
          <p:cNvGrpSpPr/>
          <p:nvPr>
            <p:custDataLst>
              <p:tags r:id="rId94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36" name="btfpRunningAgenda1LevelBarLeft573689">
              <a:extLst>
                <a:ext uri="{FF2B5EF4-FFF2-40B4-BE49-F238E27FC236}">
                  <a16:creationId xmlns:a16="http://schemas.microsoft.com/office/drawing/2014/main" id="{2229AB0D-5162-BE9E-B348-16DAFFDAE577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9" name="btfpRunningAgenda1LevelTextLeft573689">
              <a:extLst>
                <a:ext uri="{FF2B5EF4-FFF2-40B4-BE49-F238E27FC236}">
                  <a16:creationId xmlns:a16="http://schemas.microsoft.com/office/drawing/2014/main" id="{7102F849-59AC-771D-A717-798F7F05C1B4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43" name="Oval 42">
            <a:extLst>
              <a:ext uri="{FF2B5EF4-FFF2-40B4-BE49-F238E27FC236}">
                <a16:creationId xmlns:a16="http://schemas.microsoft.com/office/drawing/2014/main" id="{AD7E9991-BFCE-0319-39AA-84326B2902FA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3</a:t>
            </a: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2DAA1D36-9C8A-0633-2AAE-0A9F445DCF18}"/>
              </a:ext>
            </a:extLst>
          </p:cNvPr>
          <p:cNvGrpSpPr/>
          <p:nvPr/>
        </p:nvGrpSpPr>
        <p:grpSpPr>
          <a:xfrm>
            <a:off x="1409434" y="5682874"/>
            <a:ext cx="10528570" cy="677324"/>
            <a:chOff x="1409434" y="5682874"/>
            <a:chExt cx="10528570" cy="677324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449DDC2-0B0D-4E43-29E5-04B48E60E7FE}"/>
                </a:ext>
              </a:extLst>
            </p:cNvPr>
            <p:cNvSpPr/>
            <p:nvPr/>
          </p:nvSpPr>
          <p:spPr bwMode="gray">
            <a:xfrm>
              <a:off x="1695449" y="5682874"/>
              <a:ext cx="10166355" cy="6549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8F4067C-51E5-F3E7-70A6-0FC9821D612B}"/>
                </a:ext>
              </a:extLst>
            </p:cNvPr>
            <p:cNvSpPr txBox="1"/>
            <p:nvPr/>
          </p:nvSpPr>
          <p:spPr bwMode="gray">
            <a:xfrm>
              <a:off x="1409434" y="5893583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: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8A28687C-5A25-3B4F-B50D-AACECD3B51AB}"/>
                </a:ext>
              </a:extLst>
            </p:cNvPr>
            <p:cNvSpPr/>
            <p:nvPr/>
          </p:nvSpPr>
          <p:spPr bwMode="gray">
            <a:xfrm>
              <a:off x="1989947" y="6106852"/>
              <a:ext cx="194734" cy="126212"/>
            </a:xfrm>
            <a:prstGeom prst="rect">
              <a:avLst/>
            </a:prstGeom>
            <a:solidFill>
              <a:srgbClr val="F0F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E7AFB0-CD0E-1B15-614B-CE1D755591FC}"/>
                </a:ext>
              </a:extLst>
            </p:cNvPr>
            <p:cNvSpPr/>
            <p:nvPr/>
          </p:nvSpPr>
          <p:spPr bwMode="gray">
            <a:xfrm>
              <a:off x="4178723" y="6106852"/>
              <a:ext cx="194734" cy="126212"/>
            </a:xfrm>
            <a:prstGeom prst="rect">
              <a:avLst/>
            </a:prstGeom>
            <a:solidFill>
              <a:srgbClr val="BAB9B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ED859260-FD3F-FA73-ADD8-50FFFE647CD1}"/>
                </a:ext>
              </a:extLst>
            </p:cNvPr>
            <p:cNvSpPr txBox="1"/>
            <p:nvPr/>
          </p:nvSpPr>
          <p:spPr bwMode="gray">
            <a:xfrm>
              <a:off x="2218547" y="6056663"/>
              <a:ext cx="74467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B646362E-B99C-8196-31C9-2B090002AAFE}"/>
                </a:ext>
              </a:extLst>
            </p:cNvPr>
            <p:cNvSpPr/>
            <p:nvPr/>
          </p:nvSpPr>
          <p:spPr bwMode="gray">
            <a:xfrm>
              <a:off x="7315231" y="6106852"/>
              <a:ext cx="194734" cy="126212"/>
            </a:xfrm>
            <a:prstGeom prst="rect">
              <a:avLst/>
            </a:prstGeom>
            <a:solidFill>
              <a:srgbClr val="82AEB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D72A9C54-0587-929A-A930-60F24C6D2DFC}"/>
                </a:ext>
              </a:extLst>
            </p:cNvPr>
            <p:cNvSpPr txBox="1"/>
            <p:nvPr/>
          </p:nvSpPr>
          <p:spPr bwMode="gray">
            <a:xfrm>
              <a:off x="7545458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covers Scope 1-3)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CB5D1C84-CF25-4F27-0FC9-A9DC636B3D01}"/>
                </a:ext>
              </a:extLst>
            </p:cNvPr>
            <p:cNvSpPr txBox="1"/>
            <p:nvPr/>
          </p:nvSpPr>
          <p:spPr bwMode="gray">
            <a:xfrm>
              <a:off x="4408510" y="5979718"/>
              <a:ext cx="14265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43118CC6-B7DB-7F42-14CD-1DF264BABA31}"/>
                </a:ext>
              </a:extLst>
            </p:cNvPr>
            <p:cNvSpPr/>
            <p:nvPr/>
          </p:nvSpPr>
          <p:spPr bwMode="gray">
            <a:xfrm>
              <a:off x="9054861" y="6106852"/>
              <a:ext cx="194734" cy="126212"/>
            </a:xfrm>
            <a:prstGeom prst="rect">
              <a:avLst/>
            </a:prstGeom>
            <a:solidFill>
              <a:srgbClr val="43868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9" name="TextBox 898">
              <a:extLst>
                <a:ext uri="{FF2B5EF4-FFF2-40B4-BE49-F238E27FC236}">
                  <a16:creationId xmlns:a16="http://schemas.microsoft.com/office/drawing/2014/main" id="{AC9141E6-B27B-2E45-EDBD-ECF22D850FBE}"/>
                </a:ext>
              </a:extLst>
            </p:cNvPr>
            <p:cNvSpPr txBox="1"/>
            <p:nvPr/>
          </p:nvSpPr>
          <p:spPr bwMode="gray">
            <a:xfrm>
              <a:off x="9299789" y="5979718"/>
              <a:ext cx="164007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ing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900" name="Rectangle 899">
              <a:extLst>
                <a:ext uri="{FF2B5EF4-FFF2-40B4-BE49-F238E27FC236}">
                  <a16:creationId xmlns:a16="http://schemas.microsoft.com/office/drawing/2014/main" id="{6EB992AE-A220-16D6-80E5-172A95AA8132}"/>
                </a:ext>
              </a:extLst>
            </p:cNvPr>
            <p:cNvSpPr/>
            <p:nvPr/>
          </p:nvSpPr>
          <p:spPr bwMode="gray">
            <a:xfrm>
              <a:off x="10463743" y="6106852"/>
              <a:ext cx="194734" cy="126212"/>
            </a:xfrm>
            <a:prstGeom prst="rect">
              <a:avLst/>
            </a:prstGeom>
            <a:solidFill>
              <a:srgbClr val="045E6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1" name="TextBox 900">
              <a:extLst>
                <a:ext uri="{FF2B5EF4-FFF2-40B4-BE49-F238E27FC236}">
                  <a16:creationId xmlns:a16="http://schemas.microsoft.com/office/drawing/2014/main" id="{DDF9436B-78DF-AB67-0BF6-687554025696}"/>
                </a:ext>
              </a:extLst>
            </p:cNvPr>
            <p:cNvSpPr txBox="1"/>
            <p:nvPr/>
          </p:nvSpPr>
          <p:spPr bwMode="gray">
            <a:xfrm>
              <a:off x="10708672" y="5979718"/>
              <a:ext cx="122933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ed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902" name="Rectangle 901">
              <a:extLst>
                <a:ext uri="{FF2B5EF4-FFF2-40B4-BE49-F238E27FC236}">
                  <a16:creationId xmlns:a16="http://schemas.microsoft.com/office/drawing/2014/main" id="{50AEC8F8-DA53-7B8C-4C52-7F103353B05D}"/>
                </a:ext>
              </a:extLst>
            </p:cNvPr>
            <p:cNvSpPr/>
            <p:nvPr/>
          </p:nvSpPr>
          <p:spPr bwMode="gray">
            <a:xfrm>
              <a:off x="2998714" y="6106852"/>
              <a:ext cx="194734" cy="126212"/>
            </a:xfrm>
            <a:prstGeom prst="rect">
              <a:avLst/>
            </a:prstGeom>
            <a:pattFill prst="wdUpDiag">
              <a:fgClr>
                <a:srgbClr val="858585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3" name="TextBox 902">
              <a:extLst>
                <a:ext uri="{FF2B5EF4-FFF2-40B4-BE49-F238E27FC236}">
                  <a16:creationId xmlns:a16="http://schemas.microsoft.com/office/drawing/2014/main" id="{93531446-DDB0-B3DA-C8D0-0747E792BA46}"/>
                </a:ext>
              </a:extLst>
            </p:cNvPr>
            <p:cNvSpPr txBox="1"/>
            <p:nvPr/>
          </p:nvSpPr>
          <p:spPr bwMode="gray">
            <a:xfrm>
              <a:off x="3228501" y="5979718"/>
              <a:ext cx="9242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cope 1&amp;2)</a:t>
              </a:r>
            </a:p>
          </p:txBody>
        </p:sp>
        <p:sp>
          <p:nvSpPr>
            <p:cNvPr id="904" name="Rectangle 903">
              <a:extLst>
                <a:ext uri="{FF2B5EF4-FFF2-40B4-BE49-F238E27FC236}">
                  <a16:creationId xmlns:a16="http://schemas.microsoft.com/office/drawing/2014/main" id="{E4ACA49B-D795-EEC7-C54E-FA236644C9FD}"/>
                </a:ext>
              </a:extLst>
            </p:cNvPr>
            <p:cNvSpPr/>
            <p:nvPr/>
          </p:nvSpPr>
          <p:spPr bwMode="gray">
            <a:xfrm>
              <a:off x="5563137" y="6106852"/>
              <a:ext cx="194734" cy="126212"/>
            </a:xfrm>
            <a:prstGeom prst="rect">
              <a:avLst/>
            </a:prstGeom>
            <a:pattFill prst="wdUpDiag">
              <a:fgClr>
                <a:srgbClr val="83AC9A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5" name="TextBox 904">
              <a:extLst>
                <a:ext uri="{FF2B5EF4-FFF2-40B4-BE49-F238E27FC236}">
                  <a16:creationId xmlns:a16="http://schemas.microsoft.com/office/drawing/2014/main" id="{9B0BED89-408A-2702-69E3-ACE5B33FAAF5}"/>
                </a:ext>
              </a:extLst>
            </p:cNvPr>
            <p:cNvSpPr txBox="1"/>
            <p:nvPr/>
          </p:nvSpPr>
          <p:spPr bwMode="gray">
            <a:xfrm>
              <a:off x="5793364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Scope 1&amp;2)</a:t>
              </a:r>
            </a:p>
          </p:txBody>
        </p:sp>
        <p:sp>
          <p:nvSpPr>
            <p:cNvPr id="906" name="Rectangle 905">
              <a:extLst>
                <a:ext uri="{FF2B5EF4-FFF2-40B4-BE49-F238E27FC236}">
                  <a16:creationId xmlns:a16="http://schemas.microsoft.com/office/drawing/2014/main" id="{A00672F4-9BD5-E079-2623-7F4B3282D3ED}"/>
                </a:ext>
              </a:extLst>
            </p:cNvPr>
            <p:cNvSpPr/>
            <p:nvPr/>
          </p:nvSpPr>
          <p:spPr bwMode="gray">
            <a:xfrm>
              <a:off x="3848635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82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7" name="TextBox 906">
              <a:extLst>
                <a:ext uri="{FF2B5EF4-FFF2-40B4-BE49-F238E27FC236}">
                  <a16:creationId xmlns:a16="http://schemas.microsoft.com/office/drawing/2014/main" id="{D120F5DA-44BC-DCBA-ED6B-54EC41BAE69F}"/>
                </a:ext>
              </a:extLst>
            </p:cNvPr>
            <p:cNvSpPr txBox="1"/>
            <p:nvPr/>
          </p:nvSpPr>
          <p:spPr bwMode="gray">
            <a:xfrm>
              <a:off x="4082596" y="5759294"/>
              <a:ext cx="1667655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Current </a:t>
              </a:r>
              <a:r>
                <a:rPr lang="en-GB" sz="1000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thway to Align</a:t>
              </a:r>
            </a:p>
          </p:txBody>
        </p:sp>
        <p:sp>
          <p:nvSpPr>
            <p:cNvPr id="908" name="Rectangle 907">
              <a:extLst>
                <a:ext uri="{FF2B5EF4-FFF2-40B4-BE49-F238E27FC236}">
                  <a16:creationId xmlns:a16="http://schemas.microsoft.com/office/drawing/2014/main" id="{CBD5AC20-1030-CEAF-7D4E-9F0A0D805490}"/>
                </a:ext>
              </a:extLst>
            </p:cNvPr>
            <p:cNvSpPr/>
            <p:nvPr/>
          </p:nvSpPr>
          <p:spPr bwMode="gray">
            <a:xfrm>
              <a:off x="5887321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9" name="TextBox 908">
              <a:extLst>
                <a:ext uri="{FF2B5EF4-FFF2-40B4-BE49-F238E27FC236}">
                  <a16:creationId xmlns:a16="http://schemas.microsoft.com/office/drawing/2014/main" id="{D36C8FA6-BD68-2AF9-78F4-5D1AD773DF66}"/>
                </a:ext>
              </a:extLst>
            </p:cNvPr>
            <p:cNvSpPr txBox="1"/>
            <p:nvPr/>
          </p:nvSpPr>
          <p:spPr bwMode="gray">
            <a:xfrm>
              <a:off x="6121282" y="5759294"/>
              <a:ext cx="1695403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erging Decarb. Enabler</a:t>
              </a:r>
            </a:p>
          </p:txBody>
        </p:sp>
        <p:sp>
          <p:nvSpPr>
            <p:cNvPr id="910" name="Rectangle 909">
              <a:extLst>
                <a:ext uri="{FF2B5EF4-FFF2-40B4-BE49-F238E27FC236}">
                  <a16:creationId xmlns:a16="http://schemas.microsoft.com/office/drawing/2014/main" id="{5A515486-C3EA-6397-527D-3197E3D02A20}"/>
                </a:ext>
              </a:extLst>
            </p:cNvPr>
            <p:cNvSpPr/>
            <p:nvPr/>
          </p:nvSpPr>
          <p:spPr bwMode="gray">
            <a:xfrm>
              <a:off x="7887206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1" name="TextBox 910">
              <a:extLst>
                <a:ext uri="{FF2B5EF4-FFF2-40B4-BE49-F238E27FC236}">
                  <a16:creationId xmlns:a16="http://schemas.microsoft.com/office/drawing/2014/main" id="{3D6D9159-82F2-FCC1-FEAD-5BAD51E7BA96}"/>
                </a:ext>
              </a:extLst>
            </p:cNvPr>
            <p:cNvSpPr txBox="1"/>
            <p:nvPr/>
          </p:nvSpPr>
          <p:spPr bwMode="gray">
            <a:xfrm>
              <a:off x="8121167" y="5759294"/>
              <a:ext cx="147381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arbonisation Enabler</a:t>
              </a:r>
            </a:p>
          </p:txBody>
        </p:sp>
      </p:grpSp>
      <p:sp>
        <p:nvSpPr>
          <p:cNvPr id="912" name="btfpNotesBox530799">
            <a:extLst>
              <a:ext uri="{FF2B5EF4-FFF2-40B4-BE49-F238E27FC236}">
                <a16:creationId xmlns:a16="http://schemas.microsoft.com/office/drawing/2014/main" id="{C8E6B837-F77E-AF1E-E607-157432900F7B}"/>
              </a:ext>
            </a:extLst>
          </p:cNvPr>
          <p:cNvSpPr txBox="1"/>
          <p:nvPr>
            <p:custDataLst>
              <p:tags r:id="rId95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; </a:t>
            </a:r>
            <a:r>
              <a:rPr lang="en-US" sz="800" dirty="0">
                <a:solidFill>
                  <a:srgbClr val="000000"/>
                </a:solidFill>
              </a:rPr>
              <a:t>Invested capital of PortCos present in different funds aggregated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" name="btfpBulletedList862308">
            <a:extLst>
              <a:ext uri="{FF2B5EF4-FFF2-40B4-BE49-F238E27FC236}">
                <a16:creationId xmlns:a16="http://schemas.microsoft.com/office/drawing/2014/main" id="{6E65EE14-4577-CBE9-6C88-754044C86B0F}"/>
              </a:ext>
            </a:extLst>
          </p:cNvPr>
          <p:cNvSpPr/>
          <p:nvPr/>
        </p:nvSpPr>
        <p:spPr bwMode="gray">
          <a:xfrm>
            <a:off x="8954100" y="0"/>
            <a:ext cx="3237900" cy="27498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Potentially delete PortCos if too many displayed and focus on, e.g., top 10-15 by invested capital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Adjust colour-coding (alignment stages &amp; classifications) based on PMDR Support Tool colouring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515526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4B3AED-89CE-F939-7B92-30090AAFA9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84092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2" imgW="484" imgH="486" progId="TCLayout.ActiveDocument.1">
                  <p:embed/>
                </p:oleObj>
              </mc:Choice>
              <mc:Fallback>
                <p:oleObj name="think-cell Slide" r:id="rId102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4B3AED-89CE-F939-7B92-30090AAFA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1441015-3C9B-0A6A-16C5-981C52B0A0F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480602">
              <a:extLst>
                <a:ext uri="{FF2B5EF4-FFF2-40B4-BE49-F238E27FC236}">
                  <a16:creationId xmlns:a16="http://schemas.microsoft.com/office/drawing/2014/main" id="{C8D36A64-2644-E83C-0511-59F1E71E36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690427">
              <a:extLst>
                <a:ext uri="{FF2B5EF4-FFF2-40B4-BE49-F238E27FC236}">
                  <a16:creationId xmlns:a16="http://schemas.microsoft.com/office/drawing/2014/main" id="{57F6D00F-CB32-B1FA-E821-8A3789DF92B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655538">
              <a:extLst>
                <a:ext uri="{FF2B5EF4-FFF2-40B4-BE49-F238E27FC236}">
                  <a16:creationId xmlns:a16="http://schemas.microsoft.com/office/drawing/2014/main" id="{B8B5571D-4583-2132-B266-23E33412B3F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93249">
              <a:extLst>
                <a:ext uri="{FF2B5EF4-FFF2-40B4-BE49-F238E27FC236}">
                  <a16:creationId xmlns:a16="http://schemas.microsoft.com/office/drawing/2014/main" id="{455D9FE7-0536-30B6-37A7-A81952A80B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4933A599-89D8-A02E-9BA4-46090098E19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258882">
              <a:extLst>
                <a:ext uri="{FF2B5EF4-FFF2-40B4-BE49-F238E27FC236}">
                  <a16:creationId xmlns:a16="http://schemas.microsoft.com/office/drawing/2014/main" id="{A99A5C91-616C-249A-9BF2-B420A8E9524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6902">
              <a:extLst>
                <a:ext uri="{FF2B5EF4-FFF2-40B4-BE49-F238E27FC236}">
                  <a16:creationId xmlns:a16="http://schemas.microsoft.com/office/drawing/2014/main" id="{9B1A01DC-1E26-52A6-1B7B-1499238E331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86611">
              <a:extLst>
                <a:ext uri="{FF2B5EF4-FFF2-40B4-BE49-F238E27FC236}">
                  <a16:creationId xmlns:a16="http://schemas.microsoft.com/office/drawing/2014/main" id="{C9D99DEE-02A1-21A0-B5D9-847157B1007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06905">
              <a:extLst>
                <a:ext uri="{FF2B5EF4-FFF2-40B4-BE49-F238E27FC236}">
                  <a16:creationId xmlns:a16="http://schemas.microsoft.com/office/drawing/2014/main" id="{9BCD5FF5-4364-8886-ECA1-CC1F8792246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675C25-E215-0CD6-CF33-870FD3C4B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rtCo alignment development by invested capital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4D9F7913-BF7E-F020-8338-0DDE9A865A1C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2448116"/>
              </p:ext>
            </p:extLst>
          </p:nvPr>
        </p:nvGraphicFramePr>
        <p:xfrm>
          <a:off x="914400" y="1603375"/>
          <a:ext cx="11025188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4"/>
          </a:graphicData>
        </a:graphic>
      </p:graphicFrame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88C7D5F-2BED-630C-C6A0-3DF592E82D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811213" y="51419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95B6F2E-8E75-466B-A232-2314F3223160}" type="datetime'''''''''''''0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0" name="Text Placeholder">
            <a:extLst>
              <a:ext uri="{FF2B5EF4-FFF2-40B4-BE49-F238E27FC236}">
                <a16:creationId xmlns:a16="http://schemas.microsoft.com/office/drawing/2014/main" id="{05300560-9C89-A4B3-44A7-3881E7A837E1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811213" y="425608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AC0862B-7731-4692-9C0B-0382AFFB1B50}" type="datetime'''''''''''''''''1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3D324F9A-49FB-AF0C-C7D0-F720B3631F4D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11213" y="33686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42D8389-61A3-451E-83E0-A21BAFF7BCB8}" type="datetime'''''''''''''''2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1" name="Text Placeholder">
            <a:extLst>
              <a:ext uri="{FF2B5EF4-FFF2-40B4-BE49-F238E27FC236}">
                <a16:creationId xmlns:a16="http://schemas.microsoft.com/office/drawing/2014/main" id="{2081D334-54CF-44AF-D224-30978A668E9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11213" y="248285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1B3348E-C96F-476D-B5C5-5C96072C28E1}" type="datetime'''''''''''''''''''''''''''''''3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7" name="Text Placeholder">
            <a:extLst>
              <a:ext uri="{FF2B5EF4-FFF2-40B4-BE49-F238E27FC236}">
                <a16:creationId xmlns:a16="http://schemas.microsoft.com/office/drawing/2014/main" id="{A30CD87B-7118-03CA-C54B-423D40D6C2D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11213" y="15954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89E792F-8911-48B9-80FF-248341E22DBF}" type="datetime'''''''''''''''''''''''''''4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A9A537F-3870-AC3F-C746-1FBBB2AD74D8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167938" y="3929063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50A884CF-A687-08F8-E2E8-3DCC20D2011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167938" y="4195763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15AF010-C5FF-1C4A-786A-60D85CAFDC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67938" y="37687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F6DA88B1-F3FF-1412-ABB7-7572D34D295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67938" y="340677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71E17A22-F76A-E961-558F-EAB3BC4964C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67938" y="3033713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83DF6E11-812A-0E8F-20AD-4E8A64628544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0167938" y="29464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DEA6B76-A0DD-E610-3ADB-16A98DD68FB6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White">
          <a:xfrm>
            <a:off x="7996238" y="4878388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1A8B763-0E05-3092-01D5-4EBA832699D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996238" y="425767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D6E3FAA-465A-1DAA-2C54-EA5DECB7E211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996238" y="403542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283C7CD0-275B-B469-F05E-E6428A5B8A8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996238" y="385762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885E519-1ECE-6CBB-98C7-B96F965A95CE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996238" y="3414713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:a16="http://schemas.microsoft.com/office/drawing/2014/main" id="{4507EC0A-BEC3-E04D-D330-103765313E0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7996238" y="30607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:a16="http://schemas.microsoft.com/office/drawing/2014/main" id="{25310EBC-8CB2-9506-6BA2-9545ABAF4B0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7996238" y="29718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B113718-1CF2-C4B5-ADF4-328D430E41A4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White">
          <a:xfrm>
            <a:off x="5822950" y="4878388"/>
            <a:ext cx="1208088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22F618A-400F-B9B5-907C-9C62C1189C10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822950" y="4257675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08DA7D1C-462D-B2FD-EB10-F9A2579DF1B8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822950" y="4035425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D1B3EEB-AFD8-7E8B-D41F-80A41F1C4A2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5822950" y="3414713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1EA76E43-063C-1D26-303B-30F29A80485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5822950" y="3857625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0045613-77CD-0BCF-69D6-25FC4DDE5AB3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5822950" y="2971800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2F2663C4-4EF8-9551-AFAA-B59103412125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5822950" y="3060700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EDC4D4A1-A95F-97A2-C8C6-55C2926D579C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White">
          <a:xfrm>
            <a:off x="3651250" y="4965700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A014218E-440E-1A41-E6A4-C815BF977441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3651250" y="399097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831C77BF-8BD4-9ACC-14A9-029FBF4F7A5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651250" y="376872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:a16="http://schemas.microsoft.com/office/drawing/2014/main" id="{90137937-1FBB-3612-F5A5-46567493FB96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651250" y="314960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:a16="http://schemas.microsoft.com/office/drawing/2014/main" id="{5A4CD7D5-DAB8-E313-6794-2FA5C4664533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3651250" y="3592513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B14CA7D1-90BA-4370-2E47-3340250563A4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3651250" y="27051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3B48EAF4-1A93-2A45-6F14-6A30B89660E0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3651250" y="27940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E9E4A5C-B237-0B35-1A03-7021B4C3998B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White">
          <a:xfrm>
            <a:off x="1479550" y="4611688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7184725C-F8E3-82EB-2C5F-49BC3856A1E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479550" y="376872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855D5B4-ECD0-159C-FAA7-58BCC7CEE95C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479550" y="399097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:a16="http://schemas.microsoft.com/office/drawing/2014/main" id="{EF550EAA-DAC2-121E-EA7D-34678A7A0C6A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479550" y="314960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CAE78BC9-FBD6-DCBE-D48E-A44CD51D8FB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479550" y="3592513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CEA058C-9854-BBAC-2A57-4ADA2C67FAC1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479550" y="27940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4" name="Text Placeholder">
            <a:extLst>
              <a:ext uri="{FF2B5EF4-FFF2-40B4-BE49-F238E27FC236}">
                <a16:creationId xmlns:a16="http://schemas.microsoft.com/office/drawing/2014/main" id="{644814EE-595E-109D-3990-34B3FC9F790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760538" y="2659063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5CBA3B-8520-4FA3-8B63-BEE0E003EDB6}" type="datetime'''''''''P''''''o''''rt''Co'''' 8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2" name="Text Placeholder">
            <a:extLst>
              <a:ext uri="{FF2B5EF4-FFF2-40B4-BE49-F238E27FC236}">
                <a16:creationId xmlns:a16="http://schemas.microsoft.com/office/drawing/2014/main" id="{8AFDDC7A-401E-9EA0-7375-F064AC4DC70C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760538" y="28813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6F5B37-87B6-45FA-89FB-0D9235E79577}" type="datetime'''''''Po''''''rt''''''''''''''''''''''''''''''C''o'' ''7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93" name="Text Placeholder">
            <a:extLst>
              <a:ext uri="{FF2B5EF4-FFF2-40B4-BE49-F238E27FC236}">
                <a16:creationId xmlns:a16="http://schemas.microsoft.com/office/drawing/2014/main" id="{A803D05A-CDAC-2120-54D8-8E0E63763AE7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760538" y="35893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63489EF-697B-4BFD-B08E-F1A7F19BF58A}" type="datetime'''''Po''r''''t''''''C''''o'' ''5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4DDAC405-C845-7951-5BE5-3632113459F8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811213" y="1270000"/>
            <a:ext cx="45418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Co alignment development by invested capital, 2019-2023 ($b) </a:t>
            </a:r>
          </a:p>
        </p:txBody>
      </p:sp>
      <p:sp>
        <p:nvSpPr>
          <p:cNvPr id="402" name="Text Placeholder">
            <a:extLst>
              <a:ext uri="{FF2B5EF4-FFF2-40B4-BE49-F238E27FC236}">
                <a16:creationId xmlns:a16="http://schemas.microsoft.com/office/drawing/2014/main" id="{210EFAC2-EC8E-1365-4FD0-3EC4FCCED4BB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1760538" y="37893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B5D27A-D195-46BA-A2DB-EA63368336DC}" type="datetime'''''''''''Po''''r''''''''''''''t''''Co'' ''''''''4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7" name="Text Placeholder">
            <a:extLst>
              <a:ext uri="{FF2B5EF4-FFF2-40B4-BE49-F238E27FC236}">
                <a16:creationId xmlns:a16="http://schemas.microsoft.com/office/drawing/2014/main" id="{52BD0859-7263-9DF7-1588-FB3B2ADE086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60538" y="42100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F177B5-40E3-48A8-927D-24CDDBAD6946}" type="datetime'''''P''''''''''o''''''r''''''''''''''''''''''''''tCo 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0" name="Text Placeholder">
            <a:extLst>
              <a:ext uri="{FF2B5EF4-FFF2-40B4-BE49-F238E27FC236}">
                <a16:creationId xmlns:a16="http://schemas.microsoft.com/office/drawing/2014/main" id="{888A8438-7C8D-481C-3D16-2B3BD2CAD12F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760538" y="46974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465FAF-BE9A-4E02-9BC6-EDAAB7FB032D}" type="datetime'''''''Po''''''''r''''tC''''''''''''''''''''''o ''''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6" name="Text Placeholder">
            <a:extLst>
              <a:ext uri="{FF2B5EF4-FFF2-40B4-BE49-F238E27FC236}">
                <a16:creationId xmlns:a16="http://schemas.microsoft.com/office/drawing/2014/main" id="{BB7A08DB-186A-EC6E-3BA1-597AA8B5D2B0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760538" y="50085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53168E-345C-445B-BB75-57028B306059}" type="datetime'''''''Po''''''''rtC''''''''o'' ''''1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3" name="Text Placeholder">
            <a:extLst>
              <a:ext uri="{FF2B5EF4-FFF2-40B4-BE49-F238E27FC236}">
                <a16:creationId xmlns:a16="http://schemas.microsoft.com/office/drawing/2014/main" id="{E198A091-AF22-6F50-FC01-5C8E3FB157AD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081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A5F56A-9E3B-4699-AC5C-390B4A3E3FAE}" type="datetime'''2''''0''''''1''''''''''''9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46" name="Text Placeholder">
            <a:extLst>
              <a:ext uri="{FF2B5EF4-FFF2-40B4-BE49-F238E27FC236}">
                <a16:creationId xmlns:a16="http://schemas.microsoft.com/office/drawing/2014/main" id="{F9626A26-B6B5-6494-E440-6F02DD69365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6103938" y="3544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1F4804-D61D-4FF9-A8F8-D3433B897B87}" type="datetime'Port''''''''''C''''''o'' ''''''''''''''''''''''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8" name="Text Placeholder">
            <a:extLst>
              <a:ext uri="{FF2B5EF4-FFF2-40B4-BE49-F238E27FC236}">
                <a16:creationId xmlns:a16="http://schemas.microsoft.com/office/drawing/2014/main" id="{F1BA280F-F523-2575-C79C-AE49079733DD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6103938" y="31464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2E6870-0064-454C-8A1F-2BA4EB8F3FE4}" type="datetime'''P''''''''''''''o''rt''''C''''''''''''''o'''''' 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5" name="Text Placeholder">
            <a:extLst>
              <a:ext uri="{FF2B5EF4-FFF2-40B4-BE49-F238E27FC236}">
                <a16:creationId xmlns:a16="http://schemas.microsoft.com/office/drawing/2014/main" id="{83E872CE-D407-8F79-58FA-027E37025CE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103938" y="40560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782D1E-76BF-439F-9F3C-2CAADE274B3B}" type="datetime'''''''''''''''''P''o''''''''''''''''''''rt''Co ''''''4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4" name="Text Placeholder">
            <a:extLst>
              <a:ext uri="{FF2B5EF4-FFF2-40B4-BE49-F238E27FC236}">
                <a16:creationId xmlns:a16="http://schemas.microsoft.com/office/drawing/2014/main" id="{801040D3-46D6-D36D-256C-94D7AB0FF63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6103938" y="44767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4DC625-B92E-428A-BE4D-D14E28E3CBA3}" type="datetime'Po''''''''''r''tC''''o'''''''' ''''''''3'''''''''">
              <a:rPr lang="en-GB" altLang="en-US" sz="1200" smtClean="0"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/>
          </a:p>
        </p:txBody>
      </p:sp>
      <p:sp>
        <p:nvSpPr>
          <p:cNvPr id="659" name="Text Placeholder">
            <a:extLst>
              <a:ext uri="{FF2B5EF4-FFF2-40B4-BE49-F238E27FC236}">
                <a16:creationId xmlns:a16="http://schemas.microsoft.com/office/drawing/2014/main" id="{E2EEB48D-43CD-CD30-62E3-D08A8A88119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103938" y="2925763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1B873E-6037-49E0-99C2-06268FDA72AC}" type="datetime'''''''P''''''''o''''r''tCo'''''''''' ''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3" name="Text Placeholder">
            <a:extLst>
              <a:ext uri="{FF2B5EF4-FFF2-40B4-BE49-F238E27FC236}">
                <a16:creationId xmlns:a16="http://schemas.microsoft.com/office/drawing/2014/main" id="{65845199-1240-BEF7-FEFE-C2AD50FE841C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103938" y="496411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C3ACA7-87CF-4C6A-8266-0BE135668F21}" type="datetime'Po''''''''rt''''''''''''''C''''''''o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6" name="Text Placeholder">
            <a:extLst>
              <a:ext uri="{FF2B5EF4-FFF2-40B4-BE49-F238E27FC236}">
                <a16:creationId xmlns:a16="http://schemas.microsoft.com/office/drawing/2014/main" id="{EA24CAEA-70DE-0D12-A343-B2553B6C2A41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2515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C8022E-4096-4572-B523-177B401CD2FF}" type="datetime'''2''''''''''''''''''''0''2''''''''''1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2" name="Text Placeholder">
            <a:extLst>
              <a:ext uri="{FF2B5EF4-FFF2-40B4-BE49-F238E27FC236}">
                <a16:creationId xmlns:a16="http://schemas.microsoft.com/office/drawing/2014/main" id="{4506F795-7030-CAB9-141A-CAE3FD712F41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235950" y="226060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9BC11E-BF76-475A-8A9B-61EFE17A26E3}" type="datetime'''''P''''''''''''''''or''''''t''''''''''C''o'' 1''0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0" name="Text Placeholder">
            <a:extLst>
              <a:ext uri="{FF2B5EF4-FFF2-40B4-BE49-F238E27FC236}">
                <a16:creationId xmlns:a16="http://schemas.microsoft.com/office/drawing/2014/main" id="{F0392582-E4B9-B872-E064-BDAED74FBE8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277225" y="26590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E0DF15-1B3C-4CD7-AF3E-C0C1786BEBB4}" type="datetime'''''''''''Po''''''''r''''''t''''''C''''o'''' ''9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1" name="Text Placeholder">
            <a:extLst>
              <a:ext uri="{FF2B5EF4-FFF2-40B4-BE49-F238E27FC236}">
                <a16:creationId xmlns:a16="http://schemas.microsoft.com/office/drawing/2014/main" id="{6338F495-2C5F-9416-8890-03B62570FFE5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103938" y="26590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7BEA4F-711C-4300-A960-7775532E5C90}" type="datetime'''P''''''''''''''''o''r''t''C''o'''' ''9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7" name="Text Placeholder">
            <a:extLst>
              <a:ext uri="{FF2B5EF4-FFF2-40B4-BE49-F238E27FC236}">
                <a16:creationId xmlns:a16="http://schemas.microsoft.com/office/drawing/2014/main" id="{654B8ABC-0344-0AA9-1823-69E542A965EE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103938" y="38560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E9CAB8-DC14-4F19-ABB9-884FB8A4BF06}" type="datetime'''''Por''t''''''''''''''''''''''C''''o'' ''5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9" name="Text Placeholder">
            <a:extLst>
              <a:ext uri="{FF2B5EF4-FFF2-40B4-BE49-F238E27FC236}">
                <a16:creationId xmlns:a16="http://schemas.microsoft.com/office/drawing/2014/main" id="{37613CB3-AD79-D17E-E441-E24EF5F1F7DF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8277225" y="2925763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D166F83-71F9-4CCE-BC6E-25818E76C54E}" type="datetime'''''''P''''''''''''''o''''''''''r''t''''''C''o'' ''8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77" name="Text Placeholder">
            <a:extLst>
              <a:ext uri="{FF2B5EF4-FFF2-40B4-BE49-F238E27FC236}">
                <a16:creationId xmlns:a16="http://schemas.microsoft.com/office/drawing/2014/main" id="{18476FE9-27D4-AD6A-7CA0-B2C4323E253B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8277225" y="31464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E6F1EA-A45C-42B7-813B-525712D8F4F5}" type="datetime'''P''''''''''o''rt''''''''Co'' ''''''''''''''''''''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9894650-E9EB-95B7-8DDD-2B7795B59219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6062663" y="226060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4D81783-5148-498B-8E7C-487C47A1B9A4}" type="datetime'''''''''''''P''o''''''''''''''''''r''''tC''''o'''''''' 10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5" name="Text Placeholder">
            <a:extLst>
              <a:ext uri="{FF2B5EF4-FFF2-40B4-BE49-F238E27FC236}">
                <a16:creationId xmlns:a16="http://schemas.microsoft.com/office/drawing/2014/main" id="{80E1A659-AB49-2849-24D6-71E7E1B59E98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40798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DA8FD0-E208-4795-BBDC-172332F31C7A}" type="datetime'''''''''''''''2''''''''''''''''''0''20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98" name="Text Placeholder">
            <a:extLst>
              <a:ext uri="{FF2B5EF4-FFF2-40B4-BE49-F238E27FC236}">
                <a16:creationId xmlns:a16="http://schemas.microsoft.com/office/drawing/2014/main" id="{2A941DC2-2C3C-5713-480E-86094C2090A3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8277225" y="3544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8E68AA-1B85-4089-93F4-056AE4AE7698}" type="datetime'''P''''''''''''or''t''C''''''''''''''''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6" name="Text Placeholder">
            <a:extLst>
              <a:ext uri="{FF2B5EF4-FFF2-40B4-BE49-F238E27FC236}">
                <a16:creationId xmlns:a16="http://schemas.microsoft.com/office/drawing/2014/main" id="{23385A7E-4080-D0F5-F9FE-8913CFDEA739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277225" y="38560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14F428-D642-4BD6-955C-B78BDA13326B}" type="datetime'''''''Por''''''t''C''''''''o''''''''''''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3" name="Text Placeholder">
            <a:extLst>
              <a:ext uri="{FF2B5EF4-FFF2-40B4-BE49-F238E27FC236}">
                <a16:creationId xmlns:a16="http://schemas.microsoft.com/office/drawing/2014/main" id="{9ADDAA87-A748-F4DD-35FB-53C05AE855BF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3932238" y="46974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48B085-9490-47A1-A241-F275CFF3B2C7}" type="datetime'''''P''''''''''''or''''''''''''''tC''''''''''''''o'''' 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4" name="Text Placeholder">
            <a:extLst>
              <a:ext uri="{FF2B5EF4-FFF2-40B4-BE49-F238E27FC236}">
                <a16:creationId xmlns:a16="http://schemas.microsoft.com/office/drawing/2014/main" id="{A1C3B422-29D6-1D78-8DE6-0240AAA41527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3932238" y="42100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622C4-4B30-4C8E-B3A4-75A4C1AAB17B}" type="datetime'''P''''o''''''''r''t''''''''''''''C''''''o'' 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5" name="Text Placeholder">
            <a:extLst>
              <a:ext uri="{FF2B5EF4-FFF2-40B4-BE49-F238E27FC236}">
                <a16:creationId xmlns:a16="http://schemas.microsoft.com/office/drawing/2014/main" id="{B0313C73-506F-1C01-5C7F-7C7984C92FC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8277225" y="40560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DC1001-870B-4EC6-BA73-3ABA6C8110ED}" type="datetime'''''P''''''''o''rt''''C''''o'''''''' ''''''''4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9" name="Text Placeholder">
            <a:extLst>
              <a:ext uri="{FF2B5EF4-FFF2-40B4-BE49-F238E27FC236}">
                <a16:creationId xmlns:a16="http://schemas.microsoft.com/office/drawing/2014/main" id="{065CFA20-C2FE-45F8-3687-D2D7A763A98A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8277225" y="44767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91D16F-14B3-441E-B9B9-F733CD0E6F2A}" type="datetime'''''''''''''''P''''''o''''''''r''''tCo'' ''''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5" name="Text Placeholder">
            <a:extLst>
              <a:ext uri="{FF2B5EF4-FFF2-40B4-BE49-F238E27FC236}">
                <a16:creationId xmlns:a16="http://schemas.microsoft.com/office/drawing/2014/main" id="{755DDC48-52F7-B2BF-DA01-F57BA79268CA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3932238" y="37893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4F7408-78EA-427F-AEEC-FBFE2033C486}" type="datetime'''Po''''r''''t''C''''''''''o'''''''''''''''' 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52" name="Text Placeholder">
            <a:extLst>
              <a:ext uri="{FF2B5EF4-FFF2-40B4-BE49-F238E27FC236}">
                <a16:creationId xmlns:a16="http://schemas.microsoft.com/office/drawing/2014/main" id="{7E18EE19-93E3-B20E-C786-564F0D81EB2D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8277225" y="496411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ACC29C-4ED9-4CFC-8990-F6098C8D5A18}" type="datetime'''''''''''Por''''''''t''''''''C''''''''''''''''''o ''''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35" name="Text Placeholder">
            <a:extLst>
              <a:ext uri="{FF2B5EF4-FFF2-40B4-BE49-F238E27FC236}">
                <a16:creationId xmlns:a16="http://schemas.microsoft.com/office/drawing/2014/main" id="{180A2E74-F605-072A-183B-A8EAE85B7618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932238" y="35893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6F8B20-D4E5-4367-9BA1-43EA6C575F2E}" type="datetime'P''''''''o''''r''''''''t''C''o'''''' ''''''''''''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7" name="Text Placeholder">
            <a:extLst>
              <a:ext uri="{FF2B5EF4-FFF2-40B4-BE49-F238E27FC236}">
                <a16:creationId xmlns:a16="http://schemas.microsoft.com/office/drawing/2014/main" id="{B50EC9B6-058C-8AB6-D299-3EC4C8A14D4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0407650" y="220345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4D0C99-F8E9-43BF-86DB-3FFEE9EDCD26}" type="datetime'''''''''''''P''o''rt''''C''''''''''''''o'' ''''''''''''1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70" name="Text Placeholder">
            <a:extLst>
              <a:ext uri="{FF2B5EF4-FFF2-40B4-BE49-F238E27FC236}">
                <a16:creationId xmlns:a16="http://schemas.microsoft.com/office/drawing/2014/main" id="{77CBBDFB-AC1A-AE42-9999-8425490E5EE7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0448925" y="26289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0DD726-595E-47EF-8171-29CD74D62E7F}" type="datetime'''P''''''''''''''''''o''''''''r''t''''''''''C''''''''''o 9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6" name="Text Placeholder">
            <a:extLst>
              <a:ext uri="{FF2B5EF4-FFF2-40B4-BE49-F238E27FC236}">
                <a16:creationId xmlns:a16="http://schemas.microsoft.com/office/drawing/2014/main" id="{FDE9C4E3-73E6-E06E-CC0E-188BB9A43948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3932238" y="3279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2920D5-E8D4-4578-A712-2341A57AC1B2}" type="datetime'Por''''''''''t''''Co'''''''''''''''''''' ''''''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7" name="Text Placeholder">
            <a:extLst>
              <a:ext uri="{FF2B5EF4-FFF2-40B4-BE49-F238E27FC236}">
                <a16:creationId xmlns:a16="http://schemas.microsoft.com/office/drawing/2014/main" id="{BF9E2EEE-3601-136B-AE9C-FBC4E98DA304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3932238" y="28813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BB3ECA-8FA3-40B7-9879-AD633610766A}" type="datetime'''''''Po''''r''t''''''''''C''''''o'' ''''7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85" name="Text Placeholder">
            <a:extLst>
              <a:ext uri="{FF2B5EF4-FFF2-40B4-BE49-F238E27FC236}">
                <a16:creationId xmlns:a16="http://schemas.microsoft.com/office/drawing/2014/main" id="{93C414FA-76E6-926A-7142-3E3B4127332A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0448925" y="2898775"/>
            <a:ext cx="644525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34FCE9-0B20-4F2E-94F5-938904715A15}" type="datetime'P''''''o''''r''''''''''''t''''''''C''o'''' 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83" name="Text Placeholder">
            <a:extLst>
              <a:ext uri="{FF2B5EF4-FFF2-40B4-BE49-F238E27FC236}">
                <a16:creationId xmlns:a16="http://schemas.microsoft.com/office/drawing/2014/main" id="{F1D4C098-6A02-642A-FF29-D0E6B0C821C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0448925" y="3128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BD2F8F-5555-42A6-B70B-D71E1C860067}" type="datetime'''''''''P''''o''''''r''t''''''''C''''''''''o'''''''' 7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9" name="Text Placeholder">
            <a:extLst>
              <a:ext uri="{FF2B5EF4-FFF2-40B4-BE49-F238E27FC236}">
                <a16:creationId xmlns:a16="http://schemas.microsoft.com/office/drawing/2014/main" id="{9B1379E0-CE5E-ECBD-F20C-B517F6327884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3932238" y="2659063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82B29C-848E-4471-89FF-71461353AE24}" type="datetime'''''''Port''''''''''''''C''o'''''' 8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8" name="Text Placeholder">
            <a:extLst>
              <a:ext uri="{FF2B5EF4-FFF2-40B4-BE49-F238E27FC236}">
                <a16:creationId xmlns:a16="http://schemas.microsoft.com/office/drawing/2014/main" id="{7BE8FD78-D3C3-0768-3076-FEC0B8FD493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1760538" y="3279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43491-6A30-4C5B-8AEA-1554251AF8AC}" type="datetime'''''Po''''''''''r''tC''''o'''''''''' 6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9" name="Text Placeholder">
            <a:extLst>
              <a:ext uri="{FF2B5EF4-FFF2-40B4-BE49-F238E27FC236}">
                <a16:creationId xmlns:a16="http://schemas.microsoft.com/office/drawing/2014/main" id="{C6765EDE-1161-24FE-CB41-02F89A7E41BA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10448925" y="34972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599263-7585-49F9-BB54-458264733A6F}" type="datetime'''''''''P''''o''''''''''''''r''t''''C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03" name="Text Placeholder">
            <a:extLst>
              <a:ext uri="{FF2B5EF4-FFF2-40B4-BE49-F238E27FC236}">
                <a16:creationId xmlns:a16="http://schemas.microsoft.com/office/drawing/2014/main" id="{A979ACD5-A05E-763E-26C9-EBDE3FE04CDC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0448925" y="37576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D5F270-6BA6-4061-BB7C-2F95B680D446}" type="datetime'''''''''P''''''''or''''''''''''t''''C''o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2" name="Text Placeholder">
            <a:extLst>
              <a:ext uri="{FF2B5EF4-FFF2-40B4-BE49-F238E27FC236}">
                <a16:creationId xmlns:a16="http://schemas.microsoft.com/office/drawing/2014/main" id="{B9B7040D-9693-FB95-39FC-93057FDAA6ED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3932238" y="50085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FD856D-6990-443A-812C-4DB06462EC29}" type="datetime'''''Po''''''''''r''''''t''''''''''C''''o ''''''''''''''''''1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2FBFAF08-D72E-BAD0-9C97-9C68AFB3C671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3932238" y="23923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45E64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13FD0E-F075-448A-9006-8A0FF1548BC2}" type="datetime'P''''''''''''or''t''''''Co'' ''''''9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2" name="Text Placeholder">
            <a:extLst>
              <a:ext uri="{FF2B5EF4-FFF2-40B4-BE49-F238E27FC236}">
                <a16:creationId xmlns:a16="http://schemas.microsoft.com/office/drawing/2014/main" id="{79E63064-A4DB-2A7F-56EF-B6253D24EC31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10448925" y="39719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234760-CA38-4425-9771-04F224A1EBF5}" type="datetime'''''''''''P''o''''r''t''''''''''C''''''''''''''o ''''''4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068" name="Text Placeholder">
            <a:extLst>
              <a:ext uri="{FF2B5EF4-FFF2-40B4-BE49-F238E27FC236}">
                <a16:creationId xmlns:a16="http://schemas.microsoft.com/office/drawing/2014/main" id="{4F23FBB5-8009-AF41-494B-668DCCCE519B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10448925" y="443706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E59534-7C17-4D40-9509-5AD090D7DC19}" type="datetime'P''''''''''o''r''''''t''''''C''''''''''''''o'''''' ''3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67" name="Text Placeholder">
            <a:extLst>
              <a:ext uri="{FF2B5EF4-FFF2-40B4-BE49-F238E27FC236}">
                <a16:creationId xmlns:a16="http://schemas.microsoft.com/office/drawing/2014/main" id="{9F9451D0-9449-2E47-8C01-80A77FE06742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0448925" y="49545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FB22C0-1352-45CF-95B7-E4B9534868AC}" type="datetime'P''''''or''''''''''t''''''''''Co'''''''''''''' 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8" name="Text Placeholder">
            <a:extLst>
              <a:ext uri="{FF2B5EF4-FFF2-40B4-BE49-F238E27FC236}">
                <a16:creationId xmlns:a16="http://schemas.microsoft.com/office/drawing/2014/main" id="{A4E3E9FF-659D-F35F-5B67-1EC8EA4AE875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105965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B0E347-A243-4D55-B507-80E541B2056D}" type="datetime'''''''2''''02''''''''''3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28" name="Text Placeholder">
            <a:extLst>
              <a:ext uri="{FF2B5EF4-FFF2-40B4-BE49-F238E27FC236}">
                <a16:creationId xmlns:a16="http://schemas.microsoft.com/office/drawing/2014/main" id="{F9DA3AF4-F6A3-E676-1930-B0201DE2F4DC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1955800" y="24765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E69517-86A0-4ACA-B9BE-FE9A6002609D}" type="datetime'''''''''''''''''''2''''''''''''''''''''''''''''.''''''''''9'">
              <a:rPr lang="en-GB" altLang="en-US" sz="1200" smtClean="0">
                <a:solidFill>
                  <a:srgbClr val="000000"/>
                </a:solidFill>
              </a:rPr>
              <a:pPr/>
              <a:t>2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29" name="Text Placeholder">
            <a:extLst>
              <a:ext uri="{FF2B5EF4-FFF2-40B4-BE49-F238E27FC236}">
                <a16:creationId xmlns:a16="http://schemas.microsoft.com/office/drawing/2014/main" id="{8E036842-A02B-3418-4623-95F789713CEE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4127500" y="20542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52FB0D6-CC1A-468D-A8D0-31B5F76E2255}" type="datetime'''''''''''''3''''''''.''''''4'''''''''''''''''''''''''''">
              <a:rPr lang="en-GB" altLang="en-US" sz="1200" smtClean="0">
                <a:solidFill>
                  <a:srgbClr val="000000"/>
                </a:solidFill>
              </a:rPr>
              <a:pPr/>
              <a:t>3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0" name="Text Placeholder">
            <a:extLst>
              <a:ext uri="{FF2B5EF4-FFF2-40B4-BE49-F238E27FC236}">
                <a16:creationId xmlns:a16="http://schemas.microsoft.com/office/drawing/2014/main" id="{7E96FDC6-4F80-2E10-2F6E-796A0B1741EF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6299200" y="19653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F92300-6F30-4809-8437-5981B3DD9974}" type="datetime'''''''3''''''''''''''''''.''''''5'''''''''''''''''''''''''''''">
              <a:rPr lang="en-GB" altLang="en-US" sz="1200" smtClean="0">
                <a:solidFill>
                  <a:srgbClr val="000000"/>
                </a:solidFill>
              </a:rPr>
              <a:pPr/>
              <a:t>3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1" name="Text Placeholder">
            <a:extLst>
              <a:ext uri="{FF2B5EF4-FFF2-40B4-BE49-F238E27FC236}">
                <a16:creationId xmlns:a16="http://schemas.microsoft.com/office/drawing/2014/main" id="{4217D731-96E2-A65C-9638-B7F19659ABED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8472488" y="19653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F364A1-1542-40EC-B510-B963A1808A93}" type="datetime'''''''3''''''''''''''''.''''''''''''''''''''''''5'">
              <a:rPr lang="en-GB" altLang="en-US" sz="1200" smtClean="0">
                <a:solidFill>
                  <a:srgbClr val="000000"/>
                </a:solidFill>
              </a:rPr>
              <a:pPr/>
              <a:t>3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2" name="Text Placeholder">
            <a:extLst>
              <a:ext uri="{FF2B5EF4-FFF2-40B4-BE49-F238E27FC236}">
                <a16:creationId xmlns:a16="http://schemas.microsoft.com/office/drawing/2014/main" id="{0769564F-CAD3-CDFD-05F3-195D9A2760FD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10644188" y="18859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02653A4-D1E9-4242-BE62-B171B2C4AEA6}" type="datetime'''''''''''3''''''''''''''''''.''5'''''''''''''''''''">
              <a:rPr lang="en-GB" altLang="en-US" sz="1200" smtClean="0">
                <a:solidFill>
                  <a:srgbClr val="000000"/>
                </a:solidFill>
              </a:rPr>
              <a:pPr/>
              <a:t>3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7" name="Text Placeholder">
            <a:extLst>
              <a:ext uri="{FF2B5EF4-FFF2-40B4-BE49-F238E27FC236}">
                <a16:creationId xmlns:a16="http://schemas.microsoft.com/office/drawing/2014/main" id="{8671314C-A52A-A87C-AD85-B79C03F6091D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84248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8F2263-7C8F-4417-9FB5-0CAF3B66EE82}" type="datetime'2''''''''''0''''''''''''''''''''''2''''''''2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52F3ABFA-E393-8892-6A67-C52126B10E9C}"/>
              </a:ext>
            </a:extLst>
          </p:cNvPr>
          <p:cNvGrpSpPr/>
          <p:nvPr>
            <p:custDataLst>
              <p:tags r:id="rId97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20" name="btfpStatusStickerText352542">
              <a:extLst>
                <a:ext uri="{FF2B5EF4-FFF2-40B4-BE49-F238E27FC236}">
                  <a16:creationId xmlns:a16="http://schemas.microsoft.com/office/drawing/2014/main" id="{FBC39A0F-A61D-B6BF-A99F-CEBA4C43BAC9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1" name="btfpStatusStickerLine352542">
              <a:extLst>
                <a:ext uri="{FF2B5EF4-FFF2-40B4-BE49-F238E27FC236}">
                  <a16:creationId xmlns:a16="http://schemas.microsoft.com/office/drawing/2014/main" id="{E27A0473-BEC9-3815-0685-0E303C09F1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2" name="Rectangle 1001">
            <a:extLst>
              <a:ext uri="{FF2B5EF4-FFF2-40B4-BE49-F238E27FC236}">
                <a16:creationId xmlns:a16="http://schemas.microsoft.com/office/drawing/2014/main" id="{782EAD6C-57C1-B875-7382-984BC4AC74AC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1023" name="btfpRunningAgenda1Level573689">
            <a:extLst>
              <a:ext uri="{FF2B5EF4-FFF2-40B4-BE49-F238E27FC236}">
                <a16:creationId xmlns:a16="http://schemas.microsoft.com/office/drawing/2014/main" id="{02FEB589-2207-F139-6541-A698904808B6}"/>
              </a:ext>
            </a:extLst>
          </p:cNvPr>
          <p:cNvGrpSpPr/>
          <p:nvPr>
            <p:custDataLst>
              <p:tags r:id="rId98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1024" name="btfpRunningAgenda1LevelBarLeft573689">
              <a:extLst>
                <a:ext uri="{FF2B5EF4-FFF2-40B4-BE49-F238E27FC236}">
                  <a16:creationId xmlns:a16="http://schemas.microsoft.com/office/drawing/2014/main" id="{8F46F2DD-90A7-74C1-7219-E64FE9D14ADC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025" name="btfpRunningAgenda1LevelTextLeft573689">
              <a:extLst>
                <a:ext uri="{FF2B5EF4-FFF2-40B4-BE49-F238E27FC236}">
                  <a16:creationId xmlns:a16="http://schemas.microsoft.com/office/drawing/2014/main" id="{EB44916A-86F7-6B43-081D-B71FC450CF59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026" name="Oval 1025">
            <a:extLst>
              <a:ext uri="{FF2B5EF4-FFF2-40B4-BE49-F238E27FC236}">
                <a16:creationId xmlns:a16="http://schemas.microsoft.com/office/drawing/2014/main" id="{1FC054E5-4035-F0E6-0B06-EEDAAABCA751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3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FC6145E0-CEAD-2C74-CE1B-B8BBFEAFD07B}"/>
              </a:ext>
            </a:extLst>
          </p:cNvPr>
          <p:cNvGrpSpPr/>
          <p:nvPr/>
        </p:nvGrpSpPr>
        <p:grpSpPr>
          <a:xfrm>
            <a:off x="1409434" y="5682874"/>
            <a:ext cx="10528570" cy="677324"/>
            <a:chOff x="1409434" y="5682874"/>
            <a:chExt cx="10528570" cy="67732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31000C5F-CFBB-6A08-F34A-4CE2980A4D2A}"/>
                </a:ext>
              </a:extLst>
            </p:cNvPr>
            <p:cNvSpPr/>
            <p:nvPr/>
          </p:nvSpPr>
          <p:spPr bwMode="gray">
            <a:xfrm>
              <a:off x="1695449" y="5682874"/>
              <a:ext cx="10166355" cy="6549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B150C94B-6525-8123-06C8-EB28F0B59660}"/>
                </a:ext>
              </a:extLst>
            </p:cNvPr>
            <p:cNvSpPr txBox="1"/>
            <p:nvPr/>
          </p:nvSpPr>
          <p:spPr bwMode="gray">
            <a:xfrm>
              <a:off x="1409434" y="5893583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:</a:t>
              </a:r>
            </a:p>
          </p:txBody>
        </p:sp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0EBDE598-CC3B-E267-AACD-007D81AD4535}"/>
                </a:ext>
              </a:extLst>
            </p:cNvPr>
            <p:cNvSpPr/>
            <p:nvPr/>
          </p:nvSpPr>
          <p:spPr bwMode="gray">
            <a:xfrm>
              <a:off x="1989947" y="6106852"/>
              <a:ext cx="194734" cy="126212"/>
            </a:xfrm>
            <a:prstGeom prst="rect">
              <a:avLst/>
            </a:prstGeom>
            <a:solidFill>
              <a:srgbClr val="F0F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Rectangle 32">
              <a:extLst>
                <a:ext uri="{FF2B5EF4-FFF2-40B4-BE49-F238E27FC236}">
                  <a16:creationId xmlns:a16="http://schemas.microsoft.com/office/drawing/2014/main" id="{D11FA4F6-B727-8CB1-A567-89AC9CDB097E}"/>
                </a:ext>
              </a:extLst>
            </p:cNvPr>
            <p:cNvSpPr/>
            <p:nvPr/>
          </p:nvSpPr>
          <p:spPr bwMode="gray">
            <a:xfrm>
              <a:off x="4178723" y="6106852"/>
              <a:ext cx="194734" cy="126212"/>
            </a:xfrm>
            <a:prstGeom prst="rect">
              <a:avLst/>
            </a:prstGeom>
            <a:solidFill>
              <a:srgbClr val="BAB9B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BD23B64-D80A-785E-D914-836C709F9184}"/>
                </a:ext>
              </a:extLst>
            </p:cNvPr>
            <p:cNvSpPr txBox="1"/>
            <p:nvPr/>
          </p:nvSpPr>
          <p:spPr bwMode="gray">
            <a:xfrm>
              <a:off x="2218547" y="6056663"/>
              <a:ext cx="74467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A417D7D9-DFFE-A5C4-F5D9-E5C02A986DD0}"/>
                </a:ext>
              </a:extLst>
            </p:cNvPr>
            <p:cNvSpPr/>
            <p:nvPr/>
          </p:nvSpPr>
          <p:spPr bwMode="gray">
            <a:xfrm>
              <a:off x="7315231" y="6106852"/>
              <a:ext cx="194734" cy="126212"/>
            </a:xfrm>
            <a:prstGeom prst="rect">
              <a:avLst/>
            </a:prstGeom>
            <a:solidFill>
              <a:srgbClr val="82AEB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459EBD2-58C4-DC59-F40E-D56FF9AB87DB}"/>
                </a:ext>
              </a:extLst>
            </p:cNvPr>
            <p:cNvSpPr txBox="1"/>
            <p:nvPr/>
          </p:nvSpPr>
          <p:spPr bwMode="gray">
            <a:xfrm>
              <a:off x="7545458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covers Scope 1-3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0FEFE91-C4D8-2DD7-EC35-C552BDE39700}"/>
                </a:ext>
              </a:extLst>
            </p:cNvPr>
            <p:cNvSpPr txBox="1"/>
            <p:nvPr/>
          </p:nvSpPr>
          <p:spPr bwMode="gray">
            <a:xfrm>
              <a:off x="4408510" y="5979718"/>
              <a:ext cx="14265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AD07BBA-EB44-7B96-FD2E-EAB952DB7319}"/>
                </a:ext>
              </a:extLst>
            </p:cNvPr>
            <p:cNvSpPr/>
            <p:nvPr/>
          </p:nvSpPr>
          <p:spPr bwMode="gray">
            <a:xfrm>
              <a:off x="9054861" y="6106852"/>
              <a:ext cx="194734" cy="126212"/>
            </a:xfrm>
            <a:prstGeom prst="rect">
              <a:avLst/>
            </a:prstGeom>
            <a:solidFill>
              <a:srgbClr val="43868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F6226CC-0973-9225-7035-6B588B583D46}"/>
                </a:ext>
              </a:extLst>
            </p:cNvPr>
            <p:cNvSpPr txBox="1"/>
            <p:nvPr/>
          </p:nvSpPr>
          <p:spPr bwMode="gray">
            <a:xfrm>
              <a:off x="9299789" y="5979718"/>
              <a:ext cx="164007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ing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75BD0566-1FC8-A4B5-E313-AB3A2E51CB9E}"/>
                </a:ext>
              </a:extLst>
            </p:cNvPr>
            <p:cNvSpPr/>
            <p:nvPr/>
          </p:nvSpPr>
          <p:spPr bwMode="gray">
            <a:xfrm>
              <a:off x="10463743" y="6106852"/>
              <a:ext cx="194734" cy="126212"/>
            </a:xfrm>
            <a:prstGeom prst="rect">
              <a:avLst/>
            </a:prstGeom>
            <a:solidFill>
              <a:srgbClr val="045E6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30576283-4598-08D9-B17B-2CB127C8F8FA}"/>
                </a:ext>
              </a:extLst>
            </p:cNvPr>
            <p:cNvSpPr txBox="1"/>
            <p:nvPr/>
          </p:nvSpPr>
          <p:spPr bwMode="gray">
            <a:xfrm>
              <a:off x="10708672" y="5979718"/>
              <a:ext cx="122933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ed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2B6944E-6D56-E034-AFCA-A80C16774D63}"/>
                </a:ext>
              </a:extLst>
            </p:cNvPr>
            <p:cNvSpPr/>
            <p:nvPr/>
          </p:nvSpPr>
          <p:spPr bwMode="gray">
            <a:xfrm>
              <a:off x="2998714" y="6106852"/>
              <a:ext cx="194734" cy="126212"/>
            </a:xfrm>
            <a:prstGeom prst="rect">
              <a:avLst/>
            </a:prstGeom>
            <a:pattFill prst="wdUpDiag">
              <a:fgClr>
                <a:srgbClr val="858585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21F0903-8A40-C276-81C5-7C153A88E3F6}"/>
                </a:ext>
              </a:extLst>
            </p:cNvPr>
            <p:cNvSpPr txBox="1"/>
            <p:nvPr/>
          </p:nvSpPr>
          <p:spPr bwMode="gray">
            <a:xfrm>
              <a:off x="3228501" y="5979718"/>
              <a:ext cx="9242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cope 1&amp;2)</a:t>
              </a: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0334702F-1A2E-C3D0-F90F-60A9F39719AA}"/>
                </a:ext>
              </a:extLst>
            </p:cNvPr>
            <p:cNvSpPr/>
            <p:nvPr/>
          </p:nvSpPr>
          <p:spPr bwMode="gray">
            <a:xfrm>
              <a:off x="5563137" y="6106852"/>
              <a:ext cx="194734" cy="126212"/>
            </a:xfrm>
            <a:prstGeom prst="rect">
              <a:avLst/>
            </a:prstGeom>
            <a:pattFill prst="wdUpDiag">
              <a:fgClr>
                <a:srgbClr val="83AC9A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F5DD52D0-0BE4-371E-C78B-F97AB5D6D663}"/>
                </a:ext>
              </a:extLst>
            </p:cNvPr>
            <p:cNvSpPr txBox="1"/>
            <p:nvPr/>
          </p:nvSpPr>
          <p:spPr bwMode="gray">
            <a:xfrm>
              <a:off x="5793364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Scope 1&amp;2)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743A31E7-6A3C-C99A-CDB8-924020250C2C}"/>
                </a:ext>
              </a:extLst>
            </p:cNvPr>
            <p:cNvSpPr/>
            <p:nvPr/>
          </p:nvSpPr>
          <p:spPr bwMode="gray">
            <a:xfrm>
              <a:off x="3848635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82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E3D84A24-42F8-595E-1FAB-503DD62F0D05}"/>
                </a:ext>
              </a:extLst>
            </p:cNvPr>
            <p:cNvSpPr txBox="1"/>
            <p:nvPr/>
          </p:nvSpPr>
          <p:spPr bwMode="gray">
            <a:xfrm>
              <a:off x="4082596" y="5759294"/>
              <a:ext cx="1667655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Current Pathway to Align</a:t>
              </a:r>
            </a:p>
          </p:txBody>
        </p: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id="{7B91BF9C-E863-5C49-E0EF-781A03D00A37}"/>
                </a:ext>
              </a:extLst>
            </p:cNvPr>
            <p:cNvSpPr/>
            <p:nvPr/>
          </p:nvSpPr>
          <p:spPr bwMode="gray">
            <a:xfrm>
              <a:off x="5887321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9" name="TextBox 898">
              <a:extLst>
                <a:ext uri="{FF2B5EF4-FFF2-40B4-BE49-F238E27FC236}">
                  <a16:creationId xmlns:a16="http://schemas.microsoft.com/office/drawing/2014/main" id="{4918C1E7-8135-70D0-6743-0AAFBA78DE9C}"/>
                </a:ext>
              </a:extLst>
            </p:cNvPr>
            <p:cNvSpPr txBox="1"/>
            <p:nvPr/>
          </p:nvSpPr>
          <p:spPr bwMode="gray">
            <a:xfrm>
              <a:off x="6121282" y="5759294"/>
              <a:ext cx="1695403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erging Decarb. Enabler</a:t>
              </a:r>
            </a:p>
          </p:txBody>
        </p:sp>
        <p:sp>
          <p:nvSpPr>
            <p:cNvPr id="900" name="Rectangle 899">
              <a:extLst>
                <a:ext uri="{FF2B5EF4-FFF2-40B4-BE49-F238E27FC236}">
                  <a16:creationId xmlns:a16="http://schemas.microsoft.com/office/drawing/2014/main" id="{31C04DDC-38E5-2DF3-8EAF-05769BCB8BA6}"/>
                </a:ext>
              </a:extLst>
            </p:cNvPr>
            <p:cNvSpPr/>
            <p:nvPr/>
          </p:nvSpPr>
          <p:spPr bwMode="gray">
            <a:xfrm>
              <a:off x="7887206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1" name="TextBox 900">
              <a:extLst>
                <a:ext uri="{FF2B5EF4-FFF2-40B4-BE49-F238E27FC236}">
                  <a16:creationId xmlns:a16="http://schemas.microsoft.com/office/drawing/2014/main" id="{09885117-0BDB-6EA8-A36C-935E8E4B28C9}"/>
                </a:ext>
              </a:extLst>
            </p:cNvPr>
            <p:cNvSpPr txBox="1"/>
            <p:nvPr/>
          </p:nvSpPr>
          <p:spPr bwMode="gray">
            <a:xfrm>
              <a:off x="8121167" y="5759294"/>
              <a:ext cx="147381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arbonisation Enabler</a:t>
              </a:r>
            </a:p>
          </p:txBody>
        </p:sp>
      </p:grpSp>
      <p:sp>
        <p:nvSpPr>
          <p:cNvPr id="902" name="btfpNotesBox530799">
            <a:extLst>
              <a:ext uri="{FF2B5EF4-FFF2-40B4-BE49-F238E27FC236}">
                <a16:creationId xmlns:a16="http://schemas.microsoft.com/office/drawing/2014/main" id="{AB4B97B8-722D-A33E-143A-5192B3503679}"/>
              </a:ext>
            </a:extLst>
          </p:cNvPr>
          <p:cNvSpPr txBox="1"/>
          <p:nvPr>
            <p:custDataLst>
              <p:tags r:id="rId99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; </a:t>
            </a:r>
            <a:r>
              <a:rPr lang="en-US" sz="800" dirty="0">
                <a:solidFill>
                  <a:srgbClr val="000000"/>
                </a:solidFill>
              </a:rPr>
              <a:t>Invested capital of PortCos present in different funds aggregated</a:t>
            </a: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3" name="btfpBulletedList862308">
            <a:extLst>
              <a:ext uri="{FF2B5EF4-FFF2-40B4-BE49-F238E27FC236}">
                <a16:creationId xmlns:a16="http://schemas.microsoft.com/office/drawing/2014/main" id="{AA5C4878-59FF-6612-291B-429DEBB5A9CC}"/>
              </a:ext>
            </a:extLst>
          </p:cNvPr>
          <p:cNvSpPr/>
          <p:nvPr/>
        </p:nvSpPr>
        <p:spPr bwMode="gray">
          <a:xfrm>
            <a:off x="8954100" y="-1"/>
            <a:ext cx="3237900" cy="274796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Potentially delete PortCos if too many displayed and focus on, e.g., top 10-15 by invested capital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Adjust colour-coding (alignment stages &amp; classifications) based on PMDR Support Tool colouring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8060385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4B3AED-89CE-F939-7B92-30090AAFA9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1676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9" imgW="484" imgH="486" progId="TCLayout.ActiveDocument.1">
                  <p:embed/>
                </p:oleObj>
              </mc:Choice>
              <mc:Fallback>
                <p:oleObj name="think-cell Slide" r:id="rId99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4B3AED-89CE-F939-7B92-30090AAFA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1441015-3C9B-0A6A-16C5-981C52B0A0F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480602">
              <a:extLst>
                <a:ext uri="{FF2B5EF4-FFF2-40B4-BE49-F238E27FC236}">
                  <a16:creationId xmlns:a16="http://schemas.microsoft.com/office/drawing/2014/main" id="{C8D36A64-2644-E83C-0511-59F1E71E36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690427">
              <a:extLst>
                <a:ext uri="{FF2B5EF4-FFF2-40B4-BE49-F238E27FC236}">
                  <a16:creationId xmlns:a16="http://schemas.microsoft.com/office/drawing/2014/main" id="{57F6D00F-CB32-B1FA-E821-8A3789DF92B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655538">
              <a:extLst>
                <a:ext uri="{FF2B5EF4-FFF2-40B4-BE49-F238E27FC236}">
                  <a16:creationId xmlns:a16="http://schemas.microsoft.com/office/drawing/2014/main" id="{B8B5571D-4583-2132-B266-23E33412B3F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93249">
              <a:extLst>
                <a:ext uri="{FF2B5EF4-FFF2-40B4-BE49-F238E27FC236}">
                  <a16:creationId xmlns:a16="http://schemas.microsoft.com/office/drawing/2014/main" id="{455D9FE7-0536-30B6-37A7-A81952A80B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4933A599-89D8-A02E-9BA4-46090098E19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258882">
              <a:extLst>
                <a:ext uri="{FF2B5EF4-FFF2-40B4-BE49-F238E27FC236}">
                  <a16:creationId xmlns:a16="http://schemas.microsoft.com/office/drawing/2014/main" id="{A99A5C91-616C-249A-9BF2-B420A8E9524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6902">
              <a:extLst>
                <a:ext uri="{FF2B5EF4-FFF2-40B4-BE49-F238E27FC236}">
                  <a16:creationId xmlns:a16="http://schemas.microsoft.com/office/drawing/2014/main" id="{9B1A01DC-1E26-52A6-1B7B-1499238E331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86611">
              <a:extLst>
                <a:ext uri="{FF2B5EF4-FFF2-40B4-BE49-F238E27FC236}">
                  <a16:creationId xmlns:a16="http://schemas.microsoft.com/office/drawing/2014/main" id="{C9D99DEE-02A1-21A0-B5D9-847157B1007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06905">
              <a:extLst>
                <a:ext uri="{FF2B5EF4-FFF2-40B4-BE49-F238E27FC236}">
                  <a16:creationId xmlns:a16="http://schemas.microsoft.com/office/drawing/2014/main" id="{9BCD5FF5-4364-8886-ECA1-CC1F8792246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675C25-E215-0CD6-CF33-870FD3C4B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rtCo alignment development by financed emission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7D2AF60A-C97A-52B5-5787-68F6BBE0E10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0365583"/>
              </p:ext>
            </p:extLst>
          </p:nvPr>
        </p:nvGraphicFramePr>
        <p:xfrm>
          <a:off x="914400" y="1603375"/>
          <a:ext cx="11025188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1"/>
          </a:graphicData>
        </a:graphic>
      </p:graphicFrame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88C7D5F-2BED-630C-C6A0-3DF592E82D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633412" y="5141913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D4AE73D-4FA7-4320-8380-EAC572FF1979}" type="datetime'0'''''''''''''''''''''''''''''' 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" name="Text Placeholder">
            <a:extLst>
              <a:ext uri="{FF2B5EF4-FFF2-40B4-BE49-F238E27FC236}">
                <a16:creationId xmlns:a16="http://schemas.microsoft.com/office/drawing/2014/main" id="{7924321A-FD5D-BA45-5CBF-A0D44F2609E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49275" y="44323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F23B5C2-457A-4340-81A9-5B118C7D5DB3}" type="datetime'''''''''''''''''''''2''''''''''''0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Text Placeholder">
            <a:extLst>
              <a:ext uri="{FF2B5EF4-FFF2-40B4-BE49-F238E27FC236}">
                <a16:creationId xmlns:a16="http://schemas.microsoft.com/office/drawing/2014/main" id="{E21363EA-8D8E-E07C-ECDB-48864960CA1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549275" y="37226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553FC0A-323B-4673-BD62-937CEEA15E2F}" type="datetime'''''''''''4''''''''''''''''''''''0'' 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" name="Text Placeholder">
            <a:extLst>
              <a:ext uri="{FF2B5EF4-FFF2-40B4-BE49-F238E27FC236}">
                <a16:creationId xmlns:a16="http://schemas.microsoft.com/office/drawing/2014/main" id="{5CC7E717-4BCE-C729-7A6F-C6FFDE9F3F6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549275" y="301466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2688005-D1F6-422F-A15F-F4C3E5491ECF}" type="datetime'''''''''''''''''''''''''6''''''''0 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1BB7D8F5-D062-D627-DF4B-B72536FA0012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549275" y="230505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7E3383E-3A6F-499D-BF79-447C3A6B2E72}" type="datetime'8''''''''''''''0'''' ''''''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8BA7295D-99BC-5BE5-DD8E-D17853771913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465138" y="1595438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3D3687F-34A8-42D0-8682-5616D818C518}" type="datetime'''''''''''1''''''''''00'''''''''''''''' 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50A884CF-A687-08F8-E2E8-3DCC20D20119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167938" y="4254500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A9A537F-3870-AC3F-C746-1FBBB2AD74D8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167938" y="397192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15AF010-C5FF-1C4A-786A-60D85CAFDCD6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167938" y="374650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F6DA88B1-F3FF-1412-ABB7-7572D34D2954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167938" y="3144838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71E17A22-F76A-E961-558F-EAB3BC4964C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>
            <a:off x="10167938" y="2768600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83DF6E11-812A-0E8F-20AD-4E8A64628544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10167938" y="2663825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DEA6B76-A0DD-E610-3ADB-16A98DD68FB6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White">
          <a:xfrm>
            <a:off x="7996238" y="4922838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1A8B763-0E05-3092-01D5-4EBA832699D7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996238" y="4243388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D6E3FAA-465A-1DAA-2C54-EA5DECB7E211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996238" y="3989388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283C7CD0-275B-B469-F05E-E6428A5B8A85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996238" y="3773488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885E519-1ECE-6CBB-98C7-B96F965A95CE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7996238" y="3232150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:a16="http://schemas.microsoft.com/office/drawing/2014/main" id="{4507EC0A-BEC3-E04D-D330-103765313E07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">
          <a:xfrm>
            <a:off x="7996238" y="2798763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:a16="http://schemas.microsoft.com/office/drawing/2014/main" id="{25310EBC-8CB2-9506-6BA2-9545ABAF4B01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7996238" y="2706688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B113718-1CF2-C4B5-ADF4-328D430E41A4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White">
          <a:xfrm>
            <a:off x="5822950" y="4826000"/>
            <a:ext cx="1208088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22F618A-400F-B9B5-907C-9C62C1189C10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822950" y="4116388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08DA7D1C-462D-B2FD-EB10-F9A2579DF1B8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5822950" y="3868738"/>
            <a:ext cx="1208088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1EA76E43-063C-1D26-303B-30F29A80485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5822950" y="3657600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D1B3EEB-AFD8-7E8B-D41F-80A41F1C4A2D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5822950" y="3144838"/>
            <a:ext cx="1208088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0045613-77CD-0BCF-69D6-25FC4DDE5AB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5822950" y="2620963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2F2663C4-4EF8-9551-AFAA-B59103412125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5822950" y="2722563"/>
            <a:ext cx="1208088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EDC4D4A1-A95F-97A2-C8C6-55C2926D579C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White">
          <a:xfrm>
            <a:off x="3651250" y="4908550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831C77BF-8BD4-9ACC-14A9-029FBF4F7A5D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651250" y="3468688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A014218E-440E-1A41-E6A4-C815BF977441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651250" y="3732213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:a16="http://schemas.microsoft.com/office/drawing/2014/main" id="{90137937-1FBB-3612-F5A5-46567493FB96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3651250" y="2732088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:a16="http://schemas.microsoft.com/office/drawing/2014/main" id="{5A4CD7D5-DAB8-E313-6794-2FA5C466453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3651250" y="3262313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B14CA7D1-90BA-4370-2E47-3340250563A4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3651250" y="2214563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3B48EAF4-1A93-2A45-6F14-6A30B89660E0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3651250" y="2320925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E9E4A5C-B237-0B35-1A03-7021B4C3998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White">
          <a:xfrm>
            <a:off x="1479550" y="4090988"/>
            <a:ext cx="120650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7184725C-F8E3-82EB-2C5F-49BC3856A1E9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479550" y="3568700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855D5B4-ECD0-159C-FAA7-58BCC7CEE95C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479550" y="3978275"/>
            <a:ext cx="120650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:a16="http://schemas.microsoft.com/office/drawing/2014/main" id="{EF550EAA-DAC2-121E-EA7D-34678A7A0C6A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479550" y="249237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CAE78BC9-FBD6-DCBE-D48E-A44CD51D8FB1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>
            <a:off x="1479550" y="3267075"/>
            <a:ext cx="120650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CEA058C-9854-BBAC-2A57-4ADA2C67FAC1}"/>
              </a:ext>
            </a:extLst>
          </p:cNvPr>
          <p:cNvCxnSpPr/>
          <p:nvPr>
            <p:custDataLst>
              <p:tags r:id="rId42"/>
            </p:custDataLst>
          </p:nvPr>
        </p:nvCxnSpPr>
        <p:spPr bwMode="gray">
          <a:xfrm>
            <a:off x="1479550" y="1844675"/>
            <a:ext cx="120650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54" name="Straight Connector 953">
            <a:extLst>
              <a:ext uri="{FF2B5EF4-FFF2-40B4-BE49-F238E27FC236}">
                <a16:creationId xmlns:a16="http://schemas.microsoft.com/office/drawing/2014/main" id="{51ED9127-E504-CC11-2A6B-6E3A0D93882C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 flipH="1">
            <a:off x="2609850" y="40338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14" name="Text Placeholder">
            <a:extLst>
              <a:ext uri="{FF2B5EF4-FFF2-40B4-BE49-F238E27FC236}">
                <a16:creationId xmlns:a16="http://schemas.microsoft.com/office/drawing/2014/main" id="{644814EE-595E-109D-3990-34B3FC9F7903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760538" y="1674813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5CBA3B-8520-4FA3-8B63-BEE0E003EDB6}" type="datetime'''''''''P''''''o''''rt''Co'''' 8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2" name="Text Placeholder">
            <a:extLst>
              <a:ext uri="{FF2B5EF4-FFF2-40B4-BE49-F238E27FC236}">
                <a16:creationId xmlns:a16="http://schemas.microsoft.com/office/drawing/2014/main" id="{8AFDDC7A-401E-9EA0-7375-F064AC4DC70C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760538" y="20780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6F5B37-87B6-45FA-89FB-0D9235E79577}" type="datetime'''''''Po''''''rt''''''''''''''''''''''''''''''C''o'' ''7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88" name="Text Placeholder">
            <a:extLst>
              <a:ext uri="{FF2B5EF4-FFF2-40B4-BE49-F238E27FC236}">
                <a16:creationId xmlns:a16="http://schemas.microsoft.com/office/drawing/2014/main" id="{7BE8FD78-D3C3-0768-3076-FEC0B8FD493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1760538" y="27892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43491-6A30-4C5B-8AEA-1554251AF8AC}" type="datetime'''''Po''''''''''r''tC''''o'''''''''' 6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3" name="Text Placeholder">
            <a:extLst>
              <a:ext uri="{FF2B5EF4-FFF2-40B4-BE49-F238E27FC236}">
                <a16:creationId xmlns:a16="http://schemas.microsoft.com/office/drawing/2014/main" id="{A803D05A-CDAC-2120-54D8-8E0E63763AE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60538" y="33274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63489EF-697B-4BFD-B08E-F1A7F19BF58A}" type="datetime'''''Po''r''''t''''''C''''o'' ''5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2" name="Text Placeholder">
            <a:extLst>
              <a:ext uri="{FF2B5EF4-FFF2-40B4-BE49-F238E27FC236}">
                <a16:creationId xmlns:a16="http://schemas.microsoft.com/office/drawing/2014/main" id="{210EFAC2-EC8E-1365-4FD0-3EC4FCCED4BB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760538" y="36830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B5D27A-D195-46BA-A2DB-EA63368336DC}" type="datetime'''''''''''Po''''r''''''''''''''t''''Co'' ''''''''4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9" name="Text Placeholder">
            <a:extLst>
              <a:ext uri="{FF2B5EF4-FFF2-40B4-BE49-F238E27FC236}">
                <a16:creationId xmlns:a16="http://schemas.microsoft.com/office/drawing/2014/main" id="{E2EEB48D-43CD-CD30-62E3-D08A8A88119F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6103938" y="2581275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1B873E-6037-49E0-99C2-06268FDA72AC}" type="datetime'''''''P''''''''o''''r''tCo'''''''''' ''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1" name="Text Placeholder">
            <a:extLst>
              <a:ext uri="{FF2B5EF4-FFF2-40B4-BE49-F238E27FC236}">
                <a16:creationId xmlns:a16="http://schemas.microsoft.com/office/drawing/2014/main" id="{6338F495-2C5F-9416-8890-03B62570FFE5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6103938" y="22733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7BEA4F-711C-4300-A960-7775532E5C90}" type="datetime'''P''''''''''''''''o''r''t''C''o'''' ''9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46" name="Text Placeholder">
            <a:extLst>
              <a:ext uri="{FF2B5EF4-FFF2-40B4-BE49-F238E27FC236}">
                <a16:creationId xmlns:a16="http://schemas.microsoft.com/office/drawing/2014/main" id="{F9626A26-B6B5-6494-E440-6F02DD69365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6103938" y="33099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1F4804-D61D-4FF9-A8F8-D3433B897B87}" type="datetime'Port''''''''''C''''''o'' ''''''''''''''''''''''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7" name="Text Placeholder">
            <a:extLst>
              <a:ext uri="{FF2B5EF4-FFF2-40B4-BE49-F238E27FC236}">
                <a16:creationId xmlns:a16="http://schemas.microsoft.com/office/drawing/2014/main" id="{654B8ABC-0344-0AA9-1823-69E542A965EE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6103938" y="36718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E9CAB8-DC14-4F19-ABB9-884FB8A4BF06}" type="datetime'''''Por''t''''''''''''''''''''''C''''o'' ''5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9894650-E9EB-95B7-8DDD-2B7795B59219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062663" y="180657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4D81783-5148-498B-8E7C-487C47A1B9A4}" type="datetime'''''''''''''P''o''''''''''''''''''r''''tC''''o'''''''' 10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5" name="Text Placeholder">
            <a:extLst>
              <a:ext uri="{FF2B5EF4-FFF2-40B4-BE49-F238E27FC236}">
                <a16:creationId xmlns:a16="http://schemas.microsoft.com/office/drawing/2014/main" id="{80E1A659-AB49-2849-24D6-71E7E1B59E98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40798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DA8FD0-E208-4795-BBDC-172332F31C7A}" type="datetime'''''''''''''''2''''''''''''''''''0''20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5" name="Text Placeholder">
            <a:extLst>
              <a:ext uri="{FF2B5EF4-FFF2-40B4-BE49-F238E27FC236}">
                <a16:creationId xmlns:a16="http://schemas.microsoft.com/office/drawing/2014/main" id="{83E872CE-D407-8F79-58FA-027E37025CE0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103938" y="39020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782D1E-76BF-439F-9F3C-2CAADE274B3B}" type="datetime'''''''''''''''''P''o''''''''''''''''''''rt''Co ''''''4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4" name="Text Placeholder">
            <a:extLst>
              <a:ext uri="{FF2B5EF4-FFF2-40B4-BE49-F238E27FC236}">
                <a16:creationId xmlns:a16="http://schemas.microsoft.com/office/drawing/2014/main" id="{801040D3-46D6-D36D-256C-94D7AB0FF63E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103938" y="43799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4DC625-B92E-428A-BE4D-D14E28E3CBA3}" type="datetime'Po''''''''''r''tC''''o'''''''' ''''''''3'''''''''">
              <a:rPr lang="en-GB" altLang="en-US" sz="1200" smtClean="0"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/>
          </a:p>
        </p:txBody>
      </p:sp>
      <p:sp>
        <p:nvSpPr>
          <p:cNvPr id="642" name="Text Placeholder">
            <a:extLst>
              <a:ext uri="{FF2B5EF4-FFF2-40B4-BE49-F238E27FC236}">
                <a16:creationId xmlns:a16="http://schemas.microsoft.com/office/drawing/2014/main" id="{B9B7040D-9693-FB95-39FC-93057FDAA6ED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3932238" y="49799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FD856D-6990-443A-812C-4DB06462EC29}" type="datetime'''''Po''''''''''r''''''t''''''''''C''''o ''''''''''''''''''1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3" name="Text Placeholder">
            <a:extLst>
              <a:ext uri="{FF2B5EF4-FFF2-40B4-BE49-F238E27FC236}">
                <a16:creationId xmlns:a16="http://schemas.microsoft.com/office/drawing/2014/main" id="{65845199-1240-BEF7-FEFE-C2AD50FE841C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6103938" y="493871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C3ACA7-87CF-4C6A-8266-0BE135668F21}" type="datetime'Po''''''''rt''''''''''''''C''''''''o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6" name="Text Placeholder">
            <a:extLst>
              <a:ext uri="{FF2B5EF4-FFF2-40B4-BE49-F238E27FC236}">
                <a16:creationId xmlns:a16="http://schemas.microsoft.com/office/drawing/2014/main" id="{EA24CAEA-70DE-0D12-A343-B2553B6C2A41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62515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C8022E-4096-4572-B523-177B401CD2FF}" type="datetime'''2''''''''''''''''''''0''2''''''''''1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2" name="Text Placeholder">
            <a:extLst>
              <a:ext uri="{FF2B5EF4-FFF2-40B4-BE49-F238E27FC236}">
                <a16:creationId xmlns:a16="http://schemas.microsoft.com/office/drawing/2014/main" id="{4506F795-7030-CAB9-141A-CAE3FD712F41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8235950" y="1843088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9BC11E-BF76-475A-8A9B-61EFE17A26E3}" type="datetime'''''P''''''''''''''''or''''''t''''''''''C''o'' 1''0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0" name="Text Placeholder">
            <a:extLst>
              <a:ext uri="{FF2B5EF4-FFF2-40B4-BE49-F238E27FC236}">
                <a16:creationId xmlns:a16="http://schemas.microsoft.com/office/drawing/2014/main" id="{F0392582-E4B9-B872-E064-BDAED74FBE8E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8277225" y="23526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E0DF15-1B3C-4CD7-AF3E-C0C1786BEBB4}" type="datetime'''''''''''Po''''''''r''''''t''''''C''''o'''' ''9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3" name="Text Placeholder">
            <a:extLst>
              <a:ext uri="{FF2B5EF4-FFF2-40B4-BE49-F238E27FC236}">
                <a16:creationId xmlns:a16="http://schemas.microsoft.com/office/drawing/2014/main" id="{9ADDAA87-A748-F4DD-35FB-53C05AE855BF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3932238" y="46116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48B085-9490-47A1-A241-F275CFF3B2C7}" type="datetime'''''P''''''''''''or''''''''''''''tC''''''''''''''o'''' 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4" name="Text Placeholder">
            <a:extLst>
              <a:ext uri="{FF2B5EF4-FFF2-40B4-BE49-F238E27FC236}">
                <a16:creationId xmlns:a16="http://schemas.microsoft.com/office/drawing/2014/main" id="{A1C3B422-29D6-1D78-8DE6-0240AAA41527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3932238" y="40243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622C4-4B30-4C8E-B3A4-75A4C1AAB17B}" type="datetime'''P''''o''''''''r''t''''''''''''''C''''''o'' 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9" name="Text Placeholder">
            <a:extLst>
              <a:ext uri="{FF2B5EF4-FFF2-40B4-BE49-F238E27FC236}">
                <a16:creationId xmlns:a16="http://schemas.microsoft.com/office/drawing/2014/main" id="{37613CB3-AD79-D17E-E441-E24EF5F1F7DF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8277225" y="2662238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D166F83-71F9-4CCE-BC6E-25818E76C54E}" type="datetime'''''''P''''''''''''''o''''''''''r''t''''''C''o'' ''8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77" name="Text Placeholder">
            <a:extLst>
              <a:ext uri="{FF2B5EF4-FFF2-40B4-BE49-F238E27FC236}">
                <a16:creationId xmlns:a16="http://schemas.microsoft.com/office/drawing/2014/main" id="{18476FE9-27D4-AD6A-7CA0-B2C4323E253B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8277225" y="29241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E6F1EA-A45C-42B7-813B-525712D8F4F5}" type="datetime'''P''''''''''o''rt''''''''Co'' ''''''''''''''''''''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5" name="Text Placeholder">
            <a:extLst>
              <a:ext uri="{FF2B5EF4-FFF2-40B4-BE49-F238E27FC236}">
                <a16:creationId xmlns:a16="http://schemas.microsoft.com/office/drawing/2014/main" id="{755DDC48-52F7-B2BF-DA01-F57BA79268CA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3932238" y="3509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4F7408-78EA-427F-AEEC-FBFE2033C486}" type="datetime'''Po''''r''''t''C''''''''''o'''''''''''''''' 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35" name="Text Placeholder">
            <a:extLst>
              <a:ext uri="{FF2B5EF4-FFF2-40B4-BE49-F238E27FC236}">
                <a16:creationId xmlns:a16="http://schemas.microsoft.com/office/drawing/2014/main" id="{180A2E74-F605-072A-183B-A8EAE85B7618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3932238" y="32750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6F8B20-D4E5-4367-9BA1-43EA6C575F2E}" type="datetime'P''''''''o''''r''''''''t''C''o'''''' ''''''''''''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98" name="Text Placeholder">
            <a:extLst>
              <a:ext uri="{FF2B5EF4-FFF2-40B4-BE49-F238E27FC236}">
                <a16:creationId xmlns:a16="http://schemas.microsoft.com/office/drawing/2014/main" id="{2A941DC2-2C3C-5713-480E-86094C2090A3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8277225" y="34115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8E68AA-1B85-4089-93F4-056AE4AE7698}" type="datetime'''P''''''''''''or''t''C''''''''''''''''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6" name="Text Placeholder">
            <a:extLst>
              <a:ext uri="{FF2B5EF4-FFF2-40B4-BE49-F238E27FC236}">
                <a16:creationId xmlns:a16="http://schemas.microsoft.com/office/drawing/2014/main" id="{23385A7E-4080-D0F5-F9FE-8913CFDEA739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8277225" y="37909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14F428-D642-4BD6-955C-B78BDA13326B}" type="datetime'''''''Por''''''t''C''''''''o''''''''''''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6" name="Text Placeholder">
            <a:extLst>
              <a:ext uri="{FF2B5EF4-FFF2-40B4-BE49-F238E27FC236}">
                <a16:creationId xmlns:a16="http://schemas.microsoft.com/office/drawing/2014/main" id="{FDE9C4E3-73E6-E06E-CC0E-188BB9A4394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3932238" y="29067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2920D5-E8D4-4578-A712-2341A57AC1B2}" type="datetime'Por''''''''''t''''Co'''''''''''''''''''' ''''''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7" name="Text Placeholder">
            <a:extLst>
              <a:ext uri="{FF2B5EF4-FFF2-40B4-BE49-F238E27FC236}">
                <a16:creationId xmlns:a16="http://schemas.microsoft.com/office/drawing/2014/main" id="{BF9E2EEE-3601-136B-AE9C-FBC4E98DA304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3932238" y="24352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BB3ECA-8FA3-40B7-9879-AD633610766A}" type="datetime'''''''Po''''r''t''''''''''C''''''o'' ''''7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5" name="Text Placeholder">
            <a:extLst>
              <a:ext uri="{FF2B5EF4-FFF2-40B4-BE49-F238E27FC236}">
                <a16:creationId xmlns:a16="http://schemas.microsoft.com/office/drawing/2014/main" id="{B0313C73-506F-1C01-5C7F-7C7984C92FC8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8277225" y="40259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DC1001-870B-4EC6-BA73-3ABA6C8110ED}" type="datetime'''''P''''''''o''rt''''C''''o'''''''' ''''''''4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9" name="Text Placeholder">
            <a:extLst>
              <a:ext uri="{FF2B5EF4-FFF2-40B4-BE49-F238E27FC236}">
                <a16:creationId xmlns:a16="http://schemas.microsoft.com/office/drawing/2014/main" id="{065CFA20-C2FE-45F8-3687-D2D7A763A98A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8277225" y="44926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91D16F-14B3-441E-B9B9-F733CD0E6F2A}" type="datetime'''''''''''''''P''''''o''''''''r''''tCo'' ''''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9" name="Text Placeholder">
            <a:extLst>
              <a:ext uri="{FF2B5EF4-FFF2-40B4-BE49-F238E27FC236}">
                <a16:creationId xmlns:a16="http://schemas.microsoft.com/office/drawing/2014/main" id="{9B1379E0-CE5E-ECBD-F20C-B517F6327884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932238" y="2176463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82B29C-848E-4471-89FF-71461353AE24}" type="datetime'''''''Port''''''''''''''C''o'''''' 8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52" name="Text Placeholder">
            <a:extLst>
              <a:ext uri="{FF2B5EF4-FFF2-40B4-BE49-F238E27FC236}">
                <a16:creationId xmlns:a16="http://schemas.microsoft.com/office/drawing/2014/main" id="{7E18EE19-93E3-B20E-C786-564F0D81EB2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8277225" y="4986338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ACC29C-4ED9-4CFC-8990-F6098C8D5A18}" type="datetime'''''''''''Por''''''''t''''''''C''''''''''''''''''o ''''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7" name="Text Placeholder">
            <a:extLst>
              <a:ext uri="{FF2B5EF4-FFF2-40B4-BE49-F238E27FC236}">
                <a16:creationId xmlns:a16="http://schemas.microsoft.com/office/drawing/2014/main" id="{8671314C-A52A-A87C-AD85-B79C03F6091D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84248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8F2263-7C8F-4417-9FB5-0CAF3B66EE82}" type="datetime'2''''''''''0''''''''''''''''''''''2''''''''2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7" name="Text Placeholder">
            <a:extLst>
              <a:ext uri="{FF2B5EF4-FFF2-40B4-BE49-F238E27FC236}">
                <a16:creationId xmlns:a16="http://schemas.microsoft.com/office/drawing/2014/main" id="{B50EC9B6-058C-8AB6-D299-3EC4C8A14D4D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10407650" y="180181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4D0C99-F8E9-43BF-86DB-3FFEE9EDCD26}" type="datetime'''''''''''''P''o''rt''''C''''''''''''''o'' ''''''''''''1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70" name="Text Placeholder">
            <a:extLst>
              <a:ext uri="{FF2B5EF4-FFF2-40B4-BE49-F238E27FC236}">
                <a16:creationId xmlns:a16="http://schemas.microsoft.com/office/drawing/2014/main" id="{77CBBDFB-AC1A-AE42-9999-8425490E5EE7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10448925" y="22907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0DD726-595E-47EF-8171-29CD74D62E7F}" type="datetime'''P''''''''''''''''''o''''''''r''t''''''''''C''''''''''o 9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2FBFAF08-D72E-BAD0-9C97-9C68AFB3C671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3932238" y="1858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13FD0E-F075-448A-9006-8A0FF1548BC2}" type="datetime'P''''''''''''or''t''''''Co'' ''''''9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3" name="Text Placeholder">
            <a:extLst>
              <a:ext uri="{FF2B5EF4-FFF2-40B4-BE49-F238E27FC236}">
                <a16:creationId xmlns:a16="http://schemas.microsoft.com/office/drawing/2014/main" id="{E198A091-AF22-6F50-FC01-5C8E3FB157A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19081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A5F56A-9E3B-4699-AC5C-390B4A3E3FAE}" type="datetime'''2''''0''''''1''''''''''''9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4DDAC405-C845-7951-5BE5-3632113459F8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465138" y="1270000"/>
            <a:ext cx="47529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Co alignment development by financed emissions, 2019-2023 (%) </a:t>
            </a:r>
          </a:p>
        </p:txBody>
      </p:sp>
      <p:sp>
        <p:nvSpPr>
          <p:cNvPr id="658" name="Text Placeholder">
            <a:extLst>
              <a:ext uri="{FF2B5EF4-FFF2-40B4-BE49-F238E27FC236}">
                <a16:creationId xmlns:a16="http://schemas.microsoft.com/office/drawing/2014/main" id="{F1BA280F-F523-2575-C79C-AE49079733DD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6103938" y="28432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2E6870-0064-454C-8A1F-2BA4EB8F3FE4}" type="datetime'''P''''''''''''''o''rt''''C''''''''''''''o'''''' 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36" name="Text Placeholder">
            <a:extLst>
              <a:ext uri="{FF2B5EF4-FFF2-40B4-BE49-F238E27FC236}">
                <a16:creationId xmlns:a16="http://schemas.microsoft.com/office/drawing/2014/main" id="{BB7A08DB-186A-EC6E-3BA1-597AA8B5D2B0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1760538" y="48942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53168E-345C-445B-BB75-57028B306059}" type="datetime'''''''Po''''''''rtC''''''''o'' ''''1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0" name="Text Placeholder">
            <a:extLst>
              <a:ext uri="{FF2B5EF4-FFF2-40B4-BE49-F238E27FC236}">
                <a16:creationId xmlns:a16="http://schemas.microsoft.com/office/drawing/2014/main" id="{888A8438-7C8D-481C-3D16-2B3BD2CAD12F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760538" y="43227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465FAF-BE9A-4E02-9BC6-EDAAB7FB032D}" type="datetime'''''''Po''''''''r''''tC''''''''''''''''''''''o ''''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9" name="Text Placeholder">
            <a:extLst>
              <a:ext uri="{FF2B5EF4-FFF2-40B4-BE49-F238E27FC236}">
                <a16:creationId xmlns:a16="http://schemas.microsoft.com/office/drawing/2014/main" id="{C6765EDE-1161-24FE-CB41-02F89A7E41BA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10448925" y="33543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599263-7585-49F9-BB54-458264733A6F}" type="datetime'''''''''P''''o''''''''''''''r''t''''C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03" name="Text Placeholder">
            <a:extLst>
              <a:ext uri="{FF2B5EF4-FFF2-40B4-BE49-F238E27FC236}">
                <a16:creationId xmlns:a16="http://schemas.microsoft.com/office/drawing/2014/main" id="{A979ACD5-A05E-763E-26C9-EBDE3FE04CDC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10448925" y="37687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D5F270-6BA6-4061-BB7C-2F95B680D446}" type="datetime'''''''''P''''''''or''''''''''''t''''C''o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5" name="Text Placeholder">
            <a:extLst>
              <a:ext uri="{FF2B5EF4-FFF2-40B4-BE49-F238E27FC236}">
                <a16:creationId xmlns:a16="http://schemas.microsoft.com/office/drawing/2014/main" id="{93C414FA-76E6-926A-7142-3E3B4127332A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10448925" y="2625725"/>
            <a:ext cx="644525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34FCE9-0B20-4F2E-94F5-938904715A15}" type="datetime'P''''''o''''r''''''''''''t''''''''C''o'''' 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07" name="Text Placeholder">
            <a:extLst>
              <a:ext uri="{FF2B5EF4-FFF2-40B4-BE49-F238E27FC236}">
                <a16:creationId xmlns:a16="http://schemas.microsoft.com/office/drawing/2014/main" id="{52BD0859-7263-9DF7-1588-FB3B2ADE0868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2705100" y="39433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8F177B5-40E3-48A8-927D-24CDDBAD6946}" type="datetime'''''P''''''''''o''''''r''''''''''''''''''''''''''tCo ''3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2" name="Text Placeholder">
            <a:extLst>
              <a:ext uri="{FF2B5EF4-FFF2-40B4-BE49-F238E27FC236}">
                <a16:creationId xmlns:a16="http://schemas.microsoft.com/office/drawing/2014/main" id="{79E63064-A4DB-2A7F-56EF-B6253D24EC31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0448925" y="40227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234760-CA38-4425-9771-04F224A1EBF5}" type="datetime'''''''''''P''o''''r''t''''''''''C''''''''''''''o ''''''4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068" name="Text Placeholder">
            <a:extLst>
              <a:ext uri="{FF2B5EF4-FFF2-40B4-BE49-F238E27FC236}">
                <a16:creationId xmlns:a16="http://schemas.microsoft.com/office/drawing/2014/main" id="{4F23FBB5-8009-AF41-494B-668DCCCE519B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10448925" y="4445000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E59534-7C17-4D40-9509-5AD090D7DC19}" type="datetime'P''''''''''o''r''''''t''''''C''''''''''''''o'''''' ''3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67" name="Text Placeholder">
            <a:extLst>
              <a:ext uri="{FF2B5EF4-FFF2-40B4-BE49-F238E27FC236}">
                <a16:creationId xmlns:a16="http://schemas.microsoft.com/office/drawing/2014/main" id="{9F9451D0-9449-2E47-8C01-80A77FE0674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10448925" y="49339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FB22C0-1352-45CF-95B7-E4B9534868AC}" type="datetime'P''''''or''''''''''t''''''''''Co'''''''''''''' 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2" name="Text Placeholder">
            <a:extLst>
              <a:ext uri="{FF2B5EF4-FFF2-40B4-BE49-F238E27FC236}">
                <a16:creationId xmlns:a16="http://schemas.microsoft.com/office/drawing/2014/main" id="{26AE4979-1C02-E393-42B3-39E316359C04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1059656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AE6C8F-CA77-4CEB-B8BF-8FD88764C4C3}" type="datetime'''''''''''''''''2''''''''0''23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3" name="Text Placeholder">
            <a:extLst>
              <a:ext uri="{FF2B5EF4-FFF2-40B4-BE49-F238E27FC236}">
                <a16:creationId xmlns:a16="http://schemas.microsoft.com/office/drawing/2014/main" id="{F1D4C098-6A02-642A-FF29-D0E6B0C821CD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10448925" y="28654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BD2F8F-5555-42A6-B70B-D71E1C860067}" type="datetime'''''''''P''''o''''''r''t''''''''C''''''''''o'''''''' 7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52F3ABFA-E393-8892-6A67-C52126B10E9C}"/>
              </a:ext>
            </a:extLst>
          </p:cNvPr>
          <p:cNvGrpSpPr/>
          <p:nvPr>
            <p:custDataLst>
              <p:tags r:id="rId94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20" name="btfpStatusStickerText352542">
              <a:extLst>
                <a:ext uri="{FF2B5EF4-FFF2-40B4-BE49-F238E27FC236}">
                  <a16:creationId xmlns:a16="http://schemas.microsoft.com/office/drawing/2014/main" id="{FBC39A0F-A61D-B6BF-A99F-CEBA4C43BAC9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1" name="btfpStatusStickerLine352542">
              <a:extLst>
                <a:ext uri="{FF2B5EF4-FFF2-40B4-BE49-F238E27FC236}">
                  <a16:creationId xmlns:a16="http://schemas.microsoft.com/office/drawing/2014/main" id="{E27A0473-BEC9-3815-0685-0E303C09F1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02" name="Rectangle 1001">
            <a:extLst>
              <a:ext uri="{FF2B5EF4-FFF2-40B4-BE49-F238E27FC236}">
                <a16:creationId xmlns:a16="http://schemas.microsoft.com/office/drawing/2014/main" id="{782EAD6C-57C1-B875-7382-984BC4AC74AC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35" name="btfpRunningAgenda1Level573689">
            <a:extLst>
              <a:ext uri="{FF2B5EF4-FFF2-40B4-BE49-F238E27FC236}">
                <a16:creationId xmlns:a16="http://schemas.microsoft.com/office/drawing/2014/main" id="{E2718B85-4E2F-D8CE-56C6-F829BBF56981}"/>
              </a:ext>
            </a:extLst>
          </p:cNvPr>
          <p:cNvGrpSpPr/>
          <p:nvPr>
            <p:custDataLst>
              <p:tags r:id="rId95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36" name="btfpRunningAgenda1LevelBarLeft573689">
              <a:extLst>
                <a:ext uri="{FF2B5EF4-FFF2-40B4-BE49-F238E27FC236}">
                  <a16:creationId xmlns:a16="http://schemas.microsoft.com/office/drawing/2014/main" id="{FD7C6AB5-0798-80C1-6459-59746610B69B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9" name="btfpRunningAgenda1LevelTextLeft573689">
              <a:extLst>
                <a:ext uri="{FF2B5EF4-FFF2-40B4-BE49-F238E27FC236}">
                  <a16:creationId xmlns:a16="http://schemas.microsoft.com/office/drawing/2014/main" id="{0E219E9A-F937-CDFF-3E62-8BC2536D716C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41" name="Oval 40">
            <a:extLst>
              <a:ext uri="{FF2B5EF4-FFF2-40B4-BE49-F238E27FC236}">
                <a16:creationId xmlns:a16="http://schemas.microsoft.com/office/drawing/2014/main" id="{00B4063A-AF3E-9499-14E9-07A08620F179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4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C51EE8D0-85F9-32A1-4DF6-892E6902877B}"/>
              </a:ext>
            </a:extLst>
          </p:cNvPr>
          <p:cNvGrpSpPr/>
          <p:nvPr/>
        </p:nvGrpSpPr>
        <p:grpSpPr>
          <a:xfrm>
            <a:off x="1409434" y="5682874"/>
            <a:ext cx="10528570" cy="677324"/>
            <a:chOff x="1409434" y="5682874"/>
            <a:chExt cx="10528570" cy="677324"/>
          </a:xfrm>
        </p:grpSpPr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3C4E1D14-799F-8747-AFCD-F7B8C1D3ACE7}"/>
                </a:ext>
              </a:extLst>
            </p:cNvPr>
            <p:cNvSpPr/>
            <p:nvPr/>
          </p:nvSpPr>
          <p:spPr bwMode="gray">
            <a:xfrm>
              <a:off x="1695449" y="5682874"/>
              <a:ext cx="10166355" cy="6549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74C8491-84BE-6687-FEF0-9965EB789E64}"/>
                </a:ext>
              </a:extLst>
            </p:cNvPr>
            <p:cNvSpPr txBox="1"/>
            <p:nvPr/>
          </p:nvSpPr>
          <p:spPr bwMode="gray">
            <a:xfrm>
              <a:off x="1409434" y="5893583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:</a:t>
              </a:r>
            </a:p>
          </p:txBody>
        </p:sp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D2597E2B-B998-CF28-5BF1-3FC2715E1CF6}"/>
                </a:ext>
              </a:extLst>
            </p:cNvPr>
            <p:cNvSpPr/>
            <p:nvPr/>
          </p:nvSpPr>
          <p:spPr bwMode="gray">
            <a:xfrm>
              <a:off x="1989947" y="6106852"/>
              <a:ext cx="194734" cy="126212"/>
            </a:xfrm>
            <a:prstGeom prst="rect">
              <a:avLst/>
            </a:prstGeom>
            <a:solidFill>
              <a:srgbClr val="F0F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1676FF37-8C68-FC2A-88E3-A317DB6D660C}"/>
                </a:ext>
              </a:extLst>
            </p:cNvPr>
            <p:cNvSpPr/>
            <p:nvPr/>
          </p:nvSpPr>
          <p:spPr bwMode="gray">
            <a:xfrm>
              <a:off x="4178723" y="6106852"/>
              <a:ext cx="194734" cy="126212"/>
            </a:xfrm>
            <a:prstGeom prst="rect">
              <a:avLst/>
            </a:prstGeom>
            <a:solidFill>
              <a:srgbClr val="BAB9B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1EE8CC0-ADB4-DAD7-B52A-6EB422B40903}"/>
                </a:ext>
              </a:extLst>
            </p:cNvPr>
            <p:cNvSpPr txBox="1"/>
            <p:nvPr/>
          </p:nvSpPr>
          <p:spPr bwMode="gray">
            <a:xfrm>
              <a:off x="2218547" y="6056663"/>
              <a:ext cx="74467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A2D7EF73-344B-C833-1E1C-61E0A3417B55}"/>
                </a:ext>
              </a:extLst>
            </p:cNvPr>
            <p:cNvSpPr/>
            <p:nvPr/>
          </p:nvSpPr>
          <p:spPr bwMode="gray">
            <a:xfrm>
              <a:off x="7315231" y="6106852"/>
              <a:ext cx="194734" cy="126212"/>
            </a:xfrm>
            <a:prstGeom prst="rect">
              <a:avLst/>
            </a:prstGeom>
            <a:solidFill>
              <a:srgbClr val="82AEB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8E65C9B2-7C39-823D-EEB7-BFA0D7CE2CEC}"/>
                </a:ext>
              </a:extLst>
            </p:cNvPr>
            <p:cNvSpPr txBox="1"/>
            <p:nvPr/>
          </p:nvSpPr>
          <p:spPr bwMode="gray">
            <a:xfrm>
              <a:off x="7545458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covers Scope 1-3)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6FD577CF-EDDB-8E57-D67B-8B4295187DD2}"/>
                </a:ext>
              </a:extLst>
            </p:cNvPr>
            <p:cNvSpPr txBox="1"/>
            <p:nvPr/>
          </p:nvSpPr>
          <p:spPr bwMode="gray">
            <a:xfrm>
              <a:off x="4408510" y="5979718"/>
              <a:ext cx="14265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898" name="Rectangle 897">
              <a:extLst>
                <a:ext uri="{FF2B5EF4-FFF2-40B4-BE49-F238E27FC236}">
                  <a16:creationId xmlns:a16="http://schemas.microsoft.com/office/drawing/2014/main" id="{1F833155-2460-9FE4-A5AF-DEE0BF5F0E83}"/>
                </a:ext>
              </a:extLst>
            </p:cNvPr>
            <p:cNvSpPr/>
            <p:nvPr/>
          </p:nvSpPr>
          <p:spPr bwMode="gray">
            <a:xfrm>
              <a:off x="9054861" y="6106852"/>
              <a:ext cx="194734" cy="126212"/>
            </a:xfrm>
            <a:prstGeom prst="rect">
              <a:avLst/>
            </a:prstGeom>
            <a:solidFill>
              <a:srgbClr val="43868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99" name="TextBox 898">
              <a:extLst>
                <a:ext uri="{FF2B5EF4-FFF2-40B4-BE49-F238E27FC236}">
                  <a16:creationId xmlns:a16="http://schemas.microsoft.com/office/drawing/2014/main" id="{F60802C4-07E0-C03D-5EF4-C2DCDCBDDCCF}"/>
                </a:ext>
              </a:extLst>
            </p:cNvPr>
            <p:cNvSpPr txBox="1"/>
            <p:nvPr/>
          </p:nvSpPr>
          <p:spPr bwMode="gray">
            <a:xfrm>
              <a:off x="9299789" y="5979718"/>
              <a:ext cx="164007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ing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900" name="Rectangle 899">
              <a:extLst>
                <a:ext uri="{FF2B5EF4-FFF2-40B4-BE49-F238E27FC236}">
                  <a16:creationId xmlns:a16="http://schemas.microsoft.com/office/drawing/2014/main" id="{434A97C6-3635-42F4-4B35-D30A33DA933D}"/>
                </a:ext>
              </a:extLst>
            </p:cNvPr>
            <p:cNvSpPr/>
            <p:nvPr/>
          </p:nvSpPr>
          <p:spPr bwMode="gray">
            <a:xfrm>
              <a:off x="10463743" y="6106852"/>
              <a:ext cx="194734" cy="126212"/>
            </a:xfrm>
            <a:prstGeom prst="rect">
              <a:avLst/>
            </a:prstGeom>
            <a:solidFill>
              <a:srgbClr val="045E6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1" name="TextBox 900">
              <a:extLst>
                <a:ext uri="{FF2B5EF4-FFF2-40B4-BE49-F238E27FC236}">
                  <a16:creationId xmlns:a16="http://schemas.microsoft.com/office/drawing/2014/main" id="{FB4005B4-B545-80FA-B8D3-3EBA8DA838A4}"/>
                </a:ext>
              </a:extLst>
            </p:cNvPr>
            <p:cNvSpPr txBox="1"/>
            <p:nvPr/>
          </p:nvSpPr>
          <p:spPr bwMode="gray">
            <a:xfrm>
              <a:off x="10708672" y="5979718"/>
              <a:ext cx="122933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ed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902" name="Rectangle 901">
              <a:extLst>
                <a:ext uri="{FF2B5EF4-FFF2-40B4-BE49-F238E27FC236}">
                  <a16:creationId xmlns:a16="http://schemas.microsoft.com/office/drawing/2014/main" id="{47DA07A2-130D-9306-95BB-9DE1DF9C4911}"/>
                </a:ext>
              </a:extLst>
            </p:cNvPr>
            <p:cNvSpPr/>
            <p:nvPr/>
          </p:nvSpPr>
          <p:spPr bwMode="gray">
            <a:xfrm>
              <a:off x="2998714" y="6106852"/>
              <a:ext cx="194734" cy="126212"/>
            </a:xfrm>
            <a:prstGeom prst="rect">
              <a:avLst/>
            </a:prstGeom>
            <a:pattFill prst="wdUpDiag">
              <a:fgClr>
                <a:srgbClr val="858585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3" name="TextBox 902">
              <a:extLst>
                <a:ext uri="{FF2B5EF4-FFF2-40B4-BE49-F238E27FC236}">
                  <a16:creationId xmlns:a16="http://schemas.microsoft.com/office/drawing/2014/main" id="{3DF5255B-08AC-F89A-A4F9-3FE049F9FD64}"/>
                </a:ext>
              </a:extLst>
            </p:cNvPr>
            <p:cNvSpPr txBox="1"/>
            <p:nvPr/>
          </p:nvSpPr>
          <p:spPr bwMode="gray">
            <a:xfrm>
              <a:off x="3228501" y="5979718"/>
              <a:ext cx="9242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cope 1&amp;2)</a:t>
              </a:r>
            </a:p>
          </p:txBody>
        </p:sp>
        <p:sp>
          <p:nvSpPr>
            <p:cNvPr id="904" name="Rectangle 903">
              <a:extLst>
                <a:ext uri="{FF2B5EF4-FFF2-40B4-BE49-F238E27FC236}">
                  <a16:creationId xmlns:a16="http://schemas.microsoft.com/office/drawing/2014/main" id="{EC07CB9B-2C01-AA27-1EF8-30D6FFE4F765}"/>
                </a:ext>
              </a:extLst>
            </p:cNvPr>
            <p:cNvSpPr/>
            <p:nvPr/>
          </p:nvSpPr>
          <p:spPr bwMode="gray">
            <a:xfrm>
              <a:off x="5563137" y="6106852"/>
              <a:ext cx="194734" cy="126212"/>
            </a:xfrm>
            <a:prstGeom prst="rect">
              <a:avLst/>
            </a:prstGeom>
            <a:pattFill prst="wdUpDiag">
              <a:fgClr>
                <a:srgbClr val="83AC9A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5" name="TextBox 904">
              <a:extLst>
                <a:ext uri="{FF2B5EF4-FFF2-40B4-BE49-F238E27FC236}">
                  <a16:creationId xmlns:a16="http://schemas.microsoft.com/office/drawing/2014/main" id="{D6AF3881-6960-CD80-89A9-BD4E8A22D4CF}"/>
                </a:ext>
              </a:extLst>
            </p:cNvPr>
            <p:cNvSpPr txBox="1"/>
            <p:nvPr/>
          </p:nvSpPr>
          <p:spPr bwMode="gray">
            <a:xfrm>
              <a:off x="5793364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Scope 1&amp;2)</a:t>
              </a:r>
            </a:p>
          </p:txBody>
        </p:sp>
        <p:sp>
          <p:nvSpPr>
            <p:cNvPr id="906" name="Rectangle 905">
              <a:extLst>
                <a:ext uri="{FF2B5EF4-FFF2-40B4-BE49-F238E27FC236}">
                  <a16:creationId xmlns:a16="http://schemas.microsoft.com/office/drawing/2014/main" id="{8FDB0768-01D1-7480-5D90-8AB6746A5E27}"/>
                </a:ext>
              </a:extLst>
            </p:cNvPr>
            <p:cNvSpPr/>
            <p:nvPr/>
          </p:nvSpPr>
          <p:spPr bwMode="gray">
            <a:xfrm>
              <a:off x="3848635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82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7" name="TextBox 906">
              <a:extLst>
                <a:ext uri="{FF2B5EF4-FFF2-40B4-BE49-F238E27FC236}">
                  <a16:creationId xmlns:a16="http://schemas.microsoft.com/office/drawing/2014/main" id="{884DA293-970E-8961-4F48-71A58D293BCB}"/>
                </a:ext>
              </a:extLst>
            </p:cNvPr>
            <p:cNvSpPr txBox="1"/>
            <p:nvPr/>
          </p:nvSpPr>
          <p:spPr bwMode="gray">
            <a:xfrm>
              <a:off x="4082596" y="5759294"/>
              <a:ext cx="1695403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Current </a:t>
              </a:r>
              <a:r>
                <a:rPr lang="en-GB" sz="1000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thway to Align</a:t>
              </a:r>
            </a:p>
          </p:txBody>
        </p:sp>
        <p:sp>
          <p:nvSpPr>
            <p:cNvPr id="908" name="Rectangle 907">
              <a:extLst>
                <a:ext uri="{FF2B5EF4-FFF2-40B4-BE49-F238E27FC236}">
                  <a16:creationId xmlns:a16="http://schemas.microsoft.com/office/drawing/2014/main" id="{9BE45A85-5F14-3C32-B608-5D1E32987E35}"/>
                </a:ext>
              </a:extLst>
            </p:cNvPr>
            <p:cNvSpPr/>
            <p:nvPr/>
          </p:nvSpPr>
          <p:spPr bwMode="gray">
            <a:xfrm>
              <a:off x="5887321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09" name="TextBox 908">
              <a:extLst>
                <a:ext uri="{FF2B5EF4-FFF2-40B4-BE49-F238E27FC236}">
                  <a16:creationId xmlns:a16="http://schemas.microsoft.com/office/drawing/2014/main" id="{3F54F0F0-C491-09CF-721A-C1A7346B3393}"/>
                </a:ext>
              </a:extLst>
            </p:cNvPr>
            <p:cNvSpPr txBox="1"/>
            <p:nvPr/>
          </p:nvSpPr>
          <p:spPr bwMode="gray">
            <a:xfrm>
              <a:off x="6121282" y="5759294"/>
              <a:ext cx="1695403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erging Decarb. Enabler</a:t>
              </a:r>
            </a:p>
          </p:txBody>
        </p:sp>
        <p:sp>
          <p:nvSpPr>
            <p:cNvPr id="910" name="Rectangle 909">
              <a:extLst>
                <a:ext uri="{FF2B5EF4-FFF2-40B4-BE49-F238E27FC236}">
                  <a16:creationId xmlns:a16="http://schemas.microsoft.com/office/drawing/2014/main" id="{355ED2D8-EECE-1911-C0FB-B950B0FA228A}"/>
                </a:ext>
              </a:extLst>
            </p:cNvPr>
            <p:cNvSpPr/>
            <p:nvPr/>
          </p:nvSpPr>
          <p:spPr bwMode="gray">
            <a:xfrm>
              <a:off x="7887206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1" name="TextBox 910">
              <a:extLst>
                <a:ext uri="{FF2B5EF4-FFF2-40B4-BE49-F238E27FC236}">
                  <a16:creationId xmlns:a16="http://schemas.microsoft.com/office/drawing/2014/main" id="{9676FF6B-9E75-EFEB-CBAB-91CA084C2F92}"/>
                </a:ext>
              </a:extLst>
            </p:cNvPr>
            <p:cNvSpPr txBox="1"/>
            <p:nvPr/>
          </p:nvSpPr>
          <p:spPr bwMode="gray">
            <a:xfrm>
              <a:off x="8121167" y="5759294"/>
              <a:ext cx="147381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arbonisation Enabler</a:t>
              </a:r>
            </a:p>
          </p:txBody>
        </p:sp>
      </p:grpSp>
      <p:sp>
        <p:nvSpPr>
          <p:cNvPr id="912" name="btfpNotesBox530799">
            <a:extLst>
              <a:ext uri="{FF2B5EF4-FFF2-40B4-BE49-F238E27FC236}">
                <a16:creationId xmlns:a16="http://schemas.microsoft.com/office/drawing/2014/main" id="{64BA9558-C6BC-9CE7-C5F3-CE02B88C58C8}"/>
              </a:ext>
            </a:extLst>
          </p:cNvPr>
          <p:cNvSpPr txBox="1"/>
          <p:nvPr>
            <p:custDataLst>
              <p:tags r:id="rId96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; </a:t>
            </a:r>
            <a:r>
              <a:rPr lang="en-GB" sz="800" dirty="0">
                <a:solidFill>
                  <a:srgbClr val="000000"/>
                </a:solidFill>
              </a:rPr>
              <a:t>Financed emissions of PortCos present in different funds aggregated</a:t>
            </a:r>
          </a:p>
        </p:txBody>
      </p:sp>
      <p:sp>
        <p:nvSpPr>
          <p:cNvPr id="4" name="btfpBulletedList862308">
            <a:extLst>
              <a:ext uri="{FF2B5EF4-FFF2-40B4-BE49-F238E27FC236}">
                <a16:creationId xmlns:a16="http://schemas.microsoft.com/office/drawing/2014/main" id="{F273718F-D95D-E403-5F75-BFE64FDCB8B5}"/>
              </a:ext>
            </a:extLst>
          </p:cNvPr>
          <p:cNvSpPr/>
          <p:nvPr/>
        </p:nvSpPr>
        <p:spPr bwMode="gray">
          <a:xfrm>
            <a:off x="8954100" y="-1"/>
            <a:ext cx="3237900" cy="269376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Potentially delete PortCos if too many displayed and focus on, e.g., top 10-15 by financed emissions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Adjust colour-coding (alignment stages &amp; classifications) based on PMDR Support Tool colouring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949384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62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7" imgW="484" imgH="486" progId="TCLayout.ActiveDocument.1">
                  <p:embed/>
                </p:oleObj>
              </mc:Choice>
              <mc:Fallback>
                <p:oleObj name="think-cell Slide" r:id="rId47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financed emissions</a:t>
            </a:r>
          </a:p>
        </p:txBody>
      </p:sp>
      <p:graphicFrame>
        <p:nvGraphicFramePr>
          <p:cNvPr id="84" name="Chart 83">
            <a:extLst>
              <a:ext uri="{FF2B5EF4-FFF2-40B4-BE49-F238E27FC236}">
                <a16:creationId xmlns:a16="http://schemas.microsoft.com/office/drawing/2014/main" id="{50175C50-DF55-6BBB-2AAB-AAB77BF3A022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94336344"/>
              </p:ext>
            </p:extLst>
          </p:nvPr>
        </p:nvGraphicFramePr>
        <p:xfrm>
          <a:off x="1679575" y="1519238"/>
          <a:ext cx="10260013" cy="356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9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398587" y="4724400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DE6E8B2-9B86-4919-9DF0-E21B63CE783A}" type="datetime'''''''''''''''''''''''''''0'''''''''''''''' 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CBD45089-943A-36B8-BCB6-165FC7BF892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314450" y="411797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CB3C9D1-18BF-433C-A088-5489ADF03555}" type="datetime'''''''''''''''2''''''''''''''''''''0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131D7ED-D007-8E45-C4C0-11441E9AB90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314450" y="35131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4264CA7-061E-46EB-AFE9-9B0ADD90BF56}" type="datetime'''''''''''''''''''''''4''''''''''''0'''''''' 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A65F5AF5-9616-17EA-6EB0-74A1ABF4802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314450" y="290671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8B17C39-DD81-4D94-9383-F09E9024A16D}" type="datetime'''''''''''''''''''6''''''0 ''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0C6DF59D-E1D0-5142-24BC-1B32934484E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314450" y="230187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3049AF0-0451-47BE-BFD7-6B10D6F87872}" type="datetime'8''''''''''0'''''' ''''''''''%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230313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0BF4BFD-0C36-4C09-9FB6-7352F446D616}" type="datetime'1''''''''0''''''''''''''''''0'' ''''''''''''%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1230313" y="1390650"/>
            <a:ext cx="4794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financed emissions, 2019-2023 (%)</a:t>
            </a:r>
          </a:p>
        </p:txBody>
      </p:sp>
      <p:sp>
        <p:nvSpPr>
          <p:cNvPr id="114" name="Text Placeholder">
            <a:extLst>
              <a:ext uri="{FF2B5EF4-FFF2-40B4-BE49-F238E27FC236}">
                <a16:creationId xmlns:a16="http://schemas.microsoft.com/office/drawing/2014/main" id="{50C7FB0C-06AB-095D-B4EF-BD3901EA6BD2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574925" y="37830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41650D6-8DE4-4DE0-B2A9-502C4E40155F}" type="datetime'''''''''''''''1''''9'' ''''%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0" name="Text Placeholder">
            <a:extLst>
              <a:ext uri="{FF2B5EF4-FFF2-40B4-BE49-F238E27FC236}">
                <a16:creationId xmlns:a16="http://schemas.microsoft.com/office/drawing/2014/main" id="{C836B9F8-8DE3-B7A5-9E09-717D4699FCC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574925" y="27162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819F944-D3BF-4DB6-AC30-D68470541C7E}" type="datetime'''''''''''''''''''''''''''''1''''''''''''4'''''''' 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6" name="Text Placeholder">
            <a:extLst>
              <a:ext uri="{FF2B5EF4-FFF2-40B4-BE49-F238E27FC236}">
                <a16:creationId xmlns:a16="http://schemas.microsoft.com/office/drawing/2014/main" id="{94AAD0DD-B4AA-DBB4-D326-B95A11BF4AE3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617787" y="1766888"/>
            <a:ext cx="306388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74BBF2-6E3A-4D15-A699-3053E0600DB7}" type="datetime'''''''''''''''''''''''''''''''''''''''''''5'''' ''''''%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%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19" name="Text Placeholder">
            <a:extLst>
              <a:ext uri="{FF2B5EF4-FFF2-40B4-BE49-F238E27FC236}">
                <a16:creationId xmlns:a16="http://schemas.microsoft.com/office/drawing/2014/main" id="{8C165227-38C1-3E4C-64FD-DB50B2050CB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594225" y="39576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1C4AE9-E186-4B5D-8AC3-E63E9FDE56D8}" type="datetime'''1''''''''8'''' ''''''''''''''''''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4" name="Text Placeholder">
            <a:extLst>
              <a:ext uri="{FF2B5EF4-FFF2-40B4-BE49-F238E27FC236}">
                <a16:creationId xmlns:a16="http://schemas.microsoft.com/office/drawing/2014/main" id="{A1F9BB0F-115C-3641-1898-FE7FA50273F4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637087" y="296862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9A7C30-FC18-40A7-84A0-EBCE677591E5}" type="datetime'''''''''''9'''''''''''' ''''''''%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4" name="Text Placeholder">
            <a:extLst>
              <a:ext uri="{FF2B5EF4-FFF2-40B4-BE49-F238E27FC236}">
                <a16:creationId xmlns:a16="http://schemas.microsoft.com/office/drawing/2014/main" id="{2AD92575-D333-060B-48AF-2C74FE1AA21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613525" y="41814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525A47-C2D3-4236-AFDA-3767F113A19D}" type="datetime'''1''''''''''''''5'''''''' 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7" name="Text Placeholder">
            <a:extLst>
              <a:ext uri="{FF2B5EF4-FFF2-40B4-BE49-F238E27FC236}">
                <a16:creationId xmlns:a16="http://schemas.microsoft.com/office/drawing/2014/main" id="{D0FFB170-076A-36BB-E1FE-327C74771F2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6613525" y="32940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034C3E5-BAF2-4E5B-80B0-FCAEA435DAF3}" type="datetime'''''''''1''''''''''''''5'''''' %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D1FF2191-9FBC-5AB2-2ECD-51D0C4B007CA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8674099" y="4648200"/>
            <a:ext cx="3063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A65AA5-B7EE-4E7B-9E09-B13C8169E066}" type="datetime'''''''''''''''''''''''''''''''''''''''''''''''''''''''5'' 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14AD30D0-4A04-7FF2-CC33-580AB9F24243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8674099" y="445135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605D9F2-2664-46D0-B425-72948FF70053}" type="datetime'''''''''''''''''''8'''''''''' 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0" name="Text Placeholder">
            <a:extLst>
              <a:ext uri="{FF2B5EF4-FFF2-40B4-BE49-F238E27FC236}">
                <a16:creationId xmlns:a16="http://schemas.microsoft.com/office/drawing/2014/main" id="{FFA97A5B-BA47-F98F-57D9-CEE7231126D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631238" y="38052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00F47DA-C8EB-4F76-9697-A49C9DF77212}" type="datetime'2''0'''''''''''''''''''''''''''''''''' 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5A0A2F40-558E-1ED4-3791-339D621037E9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0693399" y="4652963"/>
            <a:ext cx="3063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70C20D-035B-4E3F-8E7B-08EFE372F50E}" type="datetime'''5'''''''''''''' 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F6A6229D-EC94-6B9A-6AEB-FB45C53682C4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693399" y="445770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7D2718E-FFB3-46D7-A82F-D1ECFEEACB8B}" type="datetime'''8'''' ''''''''''''''''''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4" name="Text Placeholder">
            <a:extLst>
              <a:ext uri="{FF2B5EF4-FFF2-40B4-BE49-F238E27FC236}">
                <a16:creationId xmlns:a16="http://schemas.microsoft.com/office/drawing/2014/main" id="{DD5631E9-3232-9BF2-F651-45C40C28FF53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0650538" y="39354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38FEFDE-9C63-4295-AAC1-43EFFE7C8E18}" type="datetime'''''''''''''''1''''''''0'''''' ''''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762125" y="4906963"/>
            <a:ext cx="20177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575C91E-9151-4CC2-A08E-545116904513}" type="datetime'''''''''2''''''''''''''''''0''''''''1''9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799137" y="4906963"/>
            <a:ext cx="20193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C755A0-580B-419F-898E-82EA761E8F7A}" type="datetime'''''''''''''''''''''''''2''''''''''''''''''02''''''''''1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7818437" y="4906963"/>
            <a:ext cx="20193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D19DB28-EEC0-4078-B769-212EC63A4AF2}" type="datetime'''''''''''''2''''''''''''''''''0''''''''''''''''2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3779837" y="4906963"/>
            <a:ext cx="20193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459F769-16E0-461B-8B29-2CF615CE7696}" type="datetime'''20''''''''''''2''''0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9837737" y="4906963"/>
            <a:ext cx="20193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171F4B-6242-47F4-A732-ACE3A1E46C1D}" type="datetime'''''''''''''''''''2''''''''0''''''''''''2''''''''3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0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6004805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64323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109530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109530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59341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109530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82396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109530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82396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109530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82396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30200" y="5230812"/>
            <a:ext cx="1431925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741F7BA0-340B-397D-6291-744440EEB8E8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30200" y="5575299"/>
            <a:ext cx="1431925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FD9E8CF-CB8B-4B89-9DDF-751E84B58F7D}" type="datetime'''''#'''' o''''f P''''''o''r''''tC''''''''''o''''''''s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A13886C4-898D-9893-BA9D-779F23BE87A4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1762125" y="5575299"/>
            <a:ext cx="20177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F72BD0-2243-4A1F-955F-E898D7AFE566}" type="datetime'''''''''''''''''''2''0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51F78938-E4C4-FB11-58F7-4753C27CE040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779837" y="5575299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CD533A-B9C4-408F-BFB5-27E4B9F15976}" type="datetime'''''''''2''2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0D53BC90-F88C-9D93-C72F-457A6E7FBE6D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5799137" y="5575299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9588005-1D6C-4FED-9E4A-C462878827E8}" type="datetime'''''''''''''''''''''''''''''2''''''''''''''''''''''''1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18CED760-AF58-2D0B-F0BD-C4BF67BB2974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7818437" y="5575299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96CC28-FC97-4100-BE68-F9BB983968EC}" type="datetime'''''2''''''''''2''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78449EED-037A-D62C-36F3-7659D3BE53C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9837737" y="5575299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6EBCE6E-E79A-4A17-B41A-BE2DDAD0EAC7}" type="datetime'''''''''''''''''''''2''''''''''''''''''''''2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109530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82396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109530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3028DA93-5643-D5FF-0CAD-6FE2FF977F05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1762125" y="5230812"/>
            <a:ext cx="20177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51B5C4-4739-444E-91C9-24AAEECA4E05}" type="datetime'''''''1''''''''''''''''''''''2'''''''''' ''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6" name="Text Placeholder">
            <a:extLst>
              <a:ext uri="{FF2B5EF4-FFF2-40B4-BE49-F238E27FC236}">
                <a16:creationId xmlns:a16="http://schemas.microsoft.com/office/drawing/2014/main" id="{5609358E-0E3A-6F40-C961-C2AC904A3AC6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3779837" y="5230812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E358FF-664E-42A9-AB46-8804EA34506E}" type="datetime'''2''''''''''''''''''''''7 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7" name="Text Placeholder">
            <a:extLst>
              <a:ext uri="{FF2B5EF4-FFF2-40B4-BE49-F238E27FC236}">
                <a16:creationId xmlns:a16="http://schemas.microsoft.com/office/drawing/2014/main" id="{D14CFE8A-54CB-45D2-0126-2323679D3C9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5799137" y="5230812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8F0DCC1-98D6-4096-AE04-379952792E43}" type="datetime'2''''''''9'''''''''''''''' ''''''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0" name="Text Placeholder">
            <a:extLst>
              <a:ext uri="{FF2B5EF4-FFF2-40B4-BE49-F238E27FC236}">
                <a16:creationId xmlns:a16="http://schemas.microsoft.com/office/drawing/2014/main" id="{3561D6FB-28F8-91DE-CDA9-56021BB5E584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818437" y="5230812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C400DB-E501-4996-A4DB-02CB03F2C49F}" type="datetime'''''''''''''''''40'''''' ''%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1" name="Text Placeholder">
            <a:extLst>
              <a:ext uri="{FF2B5EF4-FFF2-40B4-BE49-F238E27FC236}">
                <a16:creationId xmlns:a16="http://schemas.microsoft.com/office/drawing/2014/main" id="{FB96A779-161B-61A6-52F7-CC8AA150B70B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9837737" y="5230812"/>
            <a:ext cx="20193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8B2BA5-E554-4459-97E6-E479187A6B67}" type="datetime'''50'''''''''' ''''''''''%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02D088-6EA6-CEBB-1812-A15B27FFED60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222" name="btfpBulletedList958486">
            <a:extLst>
              <a:ext uri="{FF2B5EF4-FFF2-40B4-BE49-F238E27FC236}">
                <a16:creationId xmlns:a16="http://schemas.microsoft.com/office/drawing/2014/main" id="{F76BD022-B1A8-650E-42F5-C88DEB2D817C}"/>
              </a:ext>
            </a:extLst>
          </p:cNvPr>
          <p:cNvSpPr/>
          <p:nvPr/>
        </p:nvSpPr>
        <p:spPr bwMode="gray">
          <a:xfrm>
            <a:off x="8954100" y="1"/>
            <a:ext cx="3237900" cy="14639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261" name="btfpRunningAgenda1Level573689">
            <a:extLst>
              <a:ext uri="{FF2B5EF4-FFF2-40B4-BE49-F238E27FC236}">
                <a16:creationId xmlns:a16="http://schemas.microsoft.com/office/drawing/2014/main" id="{2D4B1F10-0269-6891-5BDA-38BCA2B08821}"/>
              </a:ext>
            </a:extLst>
          </p:cNvPr>
          <p:cNvGrpSpPr/>
          <p:nvPr>
            <p:custDataLst>
              <p:tags r:id="rId43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260" name="btfpRunningAgenda1LevelBarLeft573689">
              <a:extLst>
                <a:ext uri="{FF2B5EF4-FFF2-40B4-BE49-F238E27FC236}">
                  <a16:creationId xmlns:a16="http://schemas.microsoft.com/office/drawing/2014/main" id="{A3C86903-814A-F78E-AEBB-C0BEAC5A8ED9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59" name="btfpRunningAgenda1LevelTextLeft573689">
              <a:extLst>
                <a:ext uri="{FF2B5EF4-FFF2-40B4-BE49-F238E27FC236}">
                  <a16:creationId xmlns:a16="http://schemas.microsoft.com/office/drawing/2014/main" id="{668F53AB-384F-2B1A-8830-0EB39103E5C2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262" name="Oval 261">
            <a:extLst>
              <a:ext uri="{FF2B5EF4-FFF2-40B4-BE49-F238E27FC236}">
                <a16:creationId xmlns:a16="http://schemas.microsoft.com/office/drawing/2014/main" id="{9CBBABC3-F984-C7D8-CCDE-A00802F709FD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320D846D-36F3-B022-0AEE-A803E3046360}"/>
              </a:ext>
            </a:extLst>
          </p:cNvPr>
          <p:cNvSpPr txBox="1"/>
          <p:nvPr>
            <p:custDataLst>
              <p:tags r:id="rId4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5581484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C44B3AED-89CE-F939-7B92-30090AAFA9A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208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4" imgW="484" imgH="486" progId="TCLayout.ActiveDocument.1">
                  <p:embed/>
                </p:oleObj>
              </mc:Choice>
              <mc:Fallback>
                <p:oleObj name="think-cell Slide" r:id="rId104" imgW="484" imgH="486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4B3AED-89CE-F939-7B92-30090AAFA9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1" name="btfpColumnIndicatorGroup2">
            <a:extLst>
              <a:ext uri="{FF2B5EF4-FFF2-40B4-BE49-F238E27FC236}">
                <a16:creationId xmlns:a16="http://schemas.microsoft.com/office/drawing/2014/main" id="{51441015-3C9B-0A6A-16C5-981C52B0A0F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29" name="btfpColumnGapBlocker480602">
              <a:extLst>
                <a:ext uri="{FF2B5EF4-FFF2-40B4-BE49-F238E27FC236}">
                  <a16:creationId xmlns:a16="http://schemas.microsoft.com/office/drawing/2014/main" id="{C8D36A64-2644-E83C-0511-59F1E71E368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7" name="btfpColumnGapBlocker690427">
              <a:extLst>
                <a:ext uri="{FF2B5EF4-FFF2-40B4-BE49-F238E27FC236}">
                  <a16:creationId xmlns:a16="http://schemas.microsoft.com/office/drawing/2014/main" id="{57F6D00F-CB32-B1FA-E821-8A3789DF92B2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5" name="btfpColumnIndicator655538">
              <a:extLst>
                <a:ext uri="{FF2B5EF4-FFF2-40B4-BE49-F238E27FC236}">
                  <a16:creationId xmlns:a16="http://schemas.microsoft.com/office/drawing/2014/main" id="{B8B5571D-4583-2132-B266-23E33412B3F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btfpColumnIndicator593249">
              <a:extLst>
                <a:ext uri="{FF2B5EF4-FFF2-40B4-BE49-F238E27FC236}">
                  <a16:creationId xmlns:a16="http://schemas.microsoft.com/office/drawing/2014/main" id="{455D9FE7-0536-30B6-37A7-A81952A80B30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0" name="btfpColumnIndicatorGroup1">
            <a:extLst>
              <a:ext uri="{FF2B5EF4-FFF2-40B4-BE49-F238E27FC236}">
                <a16:creationId xmlns:a16="http://schemas.microsoft.com/office/drawing/2014/main" id="{4933A599-89D8-A02E-9BA4-46090098E19E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28" name="btfpColumnGapBlocker258882">
              <a:extLst>
                <a:ext uri="{FF2B5EF4-FFF2-40B4-BE49-F238E27FC236}">
                  <a16:creationId xmlns:a16="http://schemas.microsoft.com/office/drawing/2014/main" id="{A99A5C91-616C-249A-9BF2-B420A8E9524E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6" name="btfpColumnGapBlocker426902">
              <a:extLst>
                <a:ext uri="{FF2B5EF4-FFF2-40B4-BE49-F238E27FC236}">
                  <a16:creationId xmlns:a16="http://schemas.microsoft.com/office/drawing/2014/main" id="{9B1A01DC-1E26-52A6-1B7B-1499238E3314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4" name="btfpColumnIndicator686611">
              <a:extLst>
                <a:ext uri="{FF2B5EF4-FFF2-40B4-BE49-F238E27FC236}">
                  <a16:creationId xmlns:a16="http://schemas.microsoft.com/office/drawing/2014/main" id="{C9D99DEE-02A1-21A0-B5D9-847157B10075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btfpColumnIndicator906905">
              <a:extLst>
                <a:ext uri="{FF2B5EF4-FFF2-40B4-BE49-F238E27FC236}">
                  <a16:creationId xmlns:a16="http://schemas.microsoft.com/office/drawing/2014/main" id="{9BCD5FF5-4364-8886-ECA1-CC1F87922466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C675C25-E215-0CD6-CF33-870FD3C4B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PortCo alignment development by financed emissions</a:t>
            </a:r>
          </a:p>
        </p:txBody>
      </p:sp>
      <p:graphicFrame>
        <p:nvGraphicFramePr>
          <p:cNvPr id="33" name="Chart 32">
            <a:extLst>
              <a:ext uri="{FF2B5EF4-FFF2-40B4-BE49-F238E27FC236}">
                <a16:creationId xmlns:a16="http://schemas.microsoft.com/office/drawing/2014/main" id="{9141A5F5-F92F-4704-EA20-037BBB6A5796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585763402"/>
              </p:ext>
            </p:extLst>
          </p:nvPr>
        </p:nvGraphicFramePr>
        <p:xfrm>
          <a:off x="914400" y="1603375"/>
          <a:ext cx="10841038" cy="37115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6"/>
          </a:graphicData>
        </a:graphic>
      </p:graphicFrame>
      <p:sp>
        <p:nvSpPr>
          <p:cNvPr id="57" name="Text Placeholder">
            <a:extLst>
              <a:ext uri="{FF2B5EF4-FFF2-40B4-BE49-F238E27FC236}">
                <a16:creationId xmlns:a16="http://schemas.microsoft.com/office/drawing/2014/main" id="{488C7D5F-2BED-630C-C6A0-3DF592E82D2F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811213" y="51419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34A826E-D630-416F-BC3E-28F01FAC41C1}" type="datetime'''''''''''''''''''''''''''''''''''''''''''0''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B4A234B6-AE6D-1201-BD7C-130241BB176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15938" y="3959225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56F11E4-4313-4125-9B3C-BBC796F8384B}" type="datetime'''''''''''''''5'''''''''''''',''''0''''0''''''''0'''''''''">
              <a:rPr lang="en-GB" altLang="en-US" sz="1200" smtClean="0">
                <a:solidFill>
                  <a:srgbClr val="000000"/>
                </a:solidFill>
              </a:rPr>
              <a:pPr/>
              <a:t>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4C4838CB-22D6-5B8E-01A5-83E45B1CBE41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31799" y="2778125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9F49E7C-9E34-4862-BA05-8A694B5E2D93}" type="datetime'''1''''''''''''''''0'''',''00''''''''''''''''''''0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954ACAD7-4FB3-E286-A87D-AE2904D9EC8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431799" y="159543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A1F76B6-0F13-44F6-A7D9-DA6A06AF7955}" type="datetime'''''''''''''''''''''''''''''''''15'',''''''00''''''''''''0'''">
              <a:rPr lang="en-GB" altLang="en-US" sz="1200" smtClean="0">
                <a:solidFill>
                  <a:srgbClr val="000000"/>
                </a:solidFill>
              </a:rPr>
              <a:pPr/>
              <a:t>1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71" name="Straight Connector 170">
            <a:extLst>
              <a:ext uri="{FF2B5EF4-FFF2-40B4-BE49-F238E27FC236}">
                <a16:creationId xmlns:a16="http://schemas.microsoft.com/office/drawing/2014/main" id="{2A9A537F-3870-AC3F-C746-1FBBB2AD74D8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0010774" y="4440238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2" name="Straight Connector 171">
            <a:extLst>
              <a:ext uri="{FF2B5EF4-FFF2-40B4-BE49-F238E27FC236}">
                <a16:creationId xmlns:a16="http://schemas.microsoft.com/office/drawing/2014/main" id="{50A884CF-A687-08F8-E2E8-3DCC20D20119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>
            <a:off x="10010774" y="4618038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6" name="Straight Connector 1085">
            <a:extLst>
              <a:ext uri="{FF2B5EF4-FFF2-40B4-BE49-F238E27FC236}">
                <a16:creationId xmlns:a16="http://schemas.microsoft.com/office/drawing/2014/main" id="{F6DA88B1-F3FF-1412-ABB7-7572D34D2954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>
            <a:off x="10010774" y="3919538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Straight Connector 167">
            <a:extLst>
              <a:ext uri="{FF2B5EF4-FFF2-40B4-BE49-F238E27FC236}">
                <a16:creationId xmlns:a16="http://schemas.microsoft.com/office/drawing/2014/main" id="{C15AF010-C5FF-1C4A-786A-60D85CAFDCD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>
            <a:off x="10010774" y="4298950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0" name="Straight Connector 879">
            <a:extLst>
              <a:ext uri="{FF2B5EF4-FFF2-40B4-BE49-F238E27FC236}">
                <a16:creationId xmlns:a16="http://schemas.microsoft.com/office/drawing/2014/main" id="{83DF6E11-812A-0E8F-20AD-4E8A64628544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>
            <a:off x="10010774" y="3617913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1" name="Straight Connector 880">
            <a:extLst>
              <a:ext uri="{FF2B5EF4-FFF2-40B4-BE49-F238E27FC236}">
                <a16:creationId xmlns:a16="http://schemas.microsoft.com/office/drawing/2014/main" id="{71E17A22-F76A-E961-558F-EAB3BC4964C1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>
            <a:off x="10010774" y="3683000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6" name="Straight Connector 145">
            <a:extLst>
              <a:ext uri="{FF2B5EF4-FFF2-40B4-BE49-F238E27FC236}">
                <a16:creationId xmlns:a16="http://schemas.microsoft.com/office/drawing/2014/main" id="{EDEA6B76-A0DD-E610-3ADB-16A98DD68FB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White">
          <a:xfrm>
            <a:off x="7875587" y="4995863"/>
            <a:ext cx="118745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6" name="Straight Connector 165">
            <a:extLst>
              <a:ext uri="{FF2B5EF4-FFF2-40B4-BE49-F238E27FC236}">
                <a16:creationId xmlns:a16="http://schemas.microsoft.com/office/drawing/2014/main" id="{01A8B763-0E05-3092-01D5-4EBA832699D7}"/>
              </a:ext>
            </a:extLst>
          </p:cNvPr>
          <p:cNvCxnSpPr/>
          <p:nvPr>
            <p:custDataLst>
              <p:tags r:id="rId15"/>
            </p:custDataLst>
          </p:nvPr>
        </p:nvCxnSpPr>
        <p:spPr bwMode="gray">
          <a:xfrm>
            <a:off x="7875587" y="4475163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Straight Connector 146">
            <a:extLst>
              <a:ext uri="{FF2B5EF4-FFF2-40B4-BE49-F238E27FC236}">
                <a16:creationId xmlns:a16="http://schemas.microsoft.com/office/drawing/2014/main" id="{DD6E3FAA-465A-1DAA-2C54-EA5DECB7E211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>
            <a:off x="7875587" y="4281488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Straight Connector 166">
            <a:extLst>
              <a:ext uri="{FF2B5EF4-FFF2-40B4-BE49-F238E27FC236}">
                <a16:creationId xmlns:a16="http://schemas.microsoft.com/office/drawing/2014/main" id="{283C7CD0-275B-B469-F05E-E6428A5B8A8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>
            <a:off x="7875587" y="4116388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69" name="Straight Connector 868">
            <a:extLst>
              <a:ext uri="{FF2B5EF4-FFF2-40B4-BE49-F238E27FC236}">
                <a16:creationId xmlns:a16="http://schemas.microsoft.com/office/drawing/2014/main" id="{6885E519-1ECE-6CBB-98C7-B96F965A95CE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>
            <a:off x="7875587" y="3702050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8" name="Straight Connector 877">
            <a:extLst>
              <a:ext uri="{FF2B5EF4-FFF2-40B4-BE49-F238E27FC236}">
                <a16:creationId xmlns:a16="http://schemas.microsoft.com/office/drawing/2014/main" id="{25310EBC-8CB2-9506-6BA2-9545ABAF4B01}"/>
              </a:ext>
            </a:extLst>
          </p:cNvPr>
          <p:cNvCxnSpPr/>
          <p:nvPr>
            <p:custDataLst>
              <p:tags r:id="rId19"/>
            </p:custDataLst>
          </p:nvPr>
        </p:nvCxnSpPr>
        <p:spPr bwMode="gray">
          <a:xfrm>
            <a:off x="7875587" y="3300413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9" name="Straight Connector 878">
            <a:extLst>
              <a:ext uri="{FF2B5EF4-FFF2-40B4-BE49-F238E27FC236}">
                <a16:creationId xmlns:a16="http://schemas.microsoft.com/office/drawing/2014/main" id="{4507EC0A-BEC3-E04D-D330-103765313E07}"/>
              </a:ext>
            </a:extLst>
          </p:cNvPr>
          <p:cNvCxnSpPr/>
          <p:nvPr>
            <p:custDataLst>
              <p:tags r:id="rId20"/>
            </p:custDataLst>
          </p:nvPr>
        </p:nvCxnSpPr>
        <p:spPr bwMode="gray">
          <a:xfrm>
            <a:off x="7875587" y="3371850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4" name="Straight Connector 143">
            <a:extLst>
              <a:ext uri="{FF2B5EF4-FFF2-40B4-BE49-F238E27FC236}">
                <a16:creationId xmlns:a16="http://schemas.microsoft.com/office/drawing/2014/main" id="{3B113718-1CF2-C4B5-ADF4-328D430E41A4}"/>
              </a:ext>
            </a:extLst>
          </p:cNvPr>
          <p:cNvCxnSpPr/>
          <p:nvPr>
            <p:custDataLst>
              <p:tags r:id="rId21"/>
            </p:custDataLst>
          </p:nvPr>
        </p:nvCxnSpPr>
        <p:spPr bwMode="grayWhite">
          <a:xfrm>
            <a:off x="5740399" y="4913313"/>
            <a:ext cx="118745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4" name="Straight Connector 133">
            <a:extLst>
              <a:ext uri="{FF2B5EF4-FFF2-40B4-BE49-F238E27FC236}">
                <a16:creationId xmlns:a16="http://schemas.microsoft.com/office/drawing/2014/main" id="{08DA7D1C-462D-B2FD-EB10-F9A2579DF1B8}"/>
              </a:ext>
            </a:extLst>
          </p:cNvPr>
          <p:cNvCxnSpPr/>
          <p:nvPr>
            <p:custDataLst>
              <p:tags r:id="rId22"/>
            </p:custDataLst>
          </p:nvPr>
        </p:nvCxnSpPr>
        <p:spPr bwMode="gray">
          <a:xfrm>
            <a:off x="5740399" y="4164013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>
            <a:extLst>
              <a:ext uri="{FF2B5EF4-FFF2-40B4-BE49-F238E27FC236}">
                <a16:creationId xmlns:a16="http://schemas.microsoft.com/office/drawing/2014/main" id="{922F618A-400F-B9B5-907C-9C62C1189C10}"/>
              </a:ext>
            </a:extLst>
          </p:cNvPr>
          <p:cNvCxnSpPr/>
          <p:nvPr>
            <p:custDataLst>
              <p:tags r:id="rId23"/>
            </p:custDataLst>
          </p:nvPr>
        </p:nvCxnSpPr>
        <p:spPr bwMode="gray">
          <a:xfrm>
            <a:off x="5740399" y="4357688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1EA76E43-063C-1D26-303B-30F29A80485B}"/>
              </a:ext>
            </a:extLst>
          </p:cNvPr>
          <p:cNvCxnSpPr/>
          <p:nvPr>
            <p:custDataLst>
              <p:tags r:id="rId24"/>
            </p:custDataLst>
          </p:nvPr>
        </p:nvCxnSpPr>
        <p:spPr bwMode="gray">
          <a:xfrm>
            <a:off x="5740399" y="3998913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5" name="Straight Connector 134">
            <a:extLst>
              <a:ext uri="{FF2B5EF4-FFF2-40B4-BE49-F238E27FC236}">
                <a16:creationId xmlns:a16="http://schemas.microsoft.com/office/drawing/2014/main" id="{FD1B3EEB-AFD8-7E8B-D41F-80A41F1C4A2D}"/>
              </a:ext>
            </a:extLst>
          </p:cNvPr>
          <p:cNvCxnSpPr/>
          <p:nvPr>
            <p:custDataLst>
              <p:tags r:id="rId25"/>
            </p:custDataLst>
          </p:nvPr>
        </p:nvCxnSpPr>
        <p:spPr bwMode="gray">
          <a:xfrm>
            <a:off x="5740399" y="3595688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Straight Connector 153">
            <a:extLst>
              <a:ext uri="{FF2B5EF4-FFF2-40B4-BE49-F238E27FC236}">
                <a16:creationId xmlns:a16="http://schemas.microsoft.com/office/drawing/2014/main" id="{70045613-77CD-0BCF-69D6-25FC4DDE5AB3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5740399" y="3184525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Straight Connector 161">
            <a:extLst>
              <a:ext uri="{FF2B5EF4-FFF2-40B4-BE49-F238E27FC236}">
                <a16:creationId xmlns:a16="http://schemas.microsoft.com/office/drawing/2014/main" id="{2F2663C4-4EF8-9551-AFAA-B5910341212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5740399" y="3265488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0" name="Straight Connector 809">
            <a:extLst>
              <a:ext uri="{FF2B5EF4-FFF2-40B4-BE49-F238E27FC236}">
                <a16:creationId xmlns:a16="http://schemas.microsoft.com/office/drawing/2014/main" id="{EDC4D4A1-A95F-97A2-C8C6-55C2926D579C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White">
          <a:xfrm>
            <a:off x="3605212" y="4972050"/>
            <a:ext cx="118745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83" name="Straight Connector 882">
            <a:extLst>
              <a:ext uri="{FF2B5EF4-FFF2-40B4-BE49-F238E27FC236}">
                <a16:creationId xmlns:a16="http://schemas.microsoft.com/office/drawing/2014/main" id="{831C77BF-8BD4-9ACC-14A9-029FBF4F7A5D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3605212" y="3813175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A014218E-440E-1A41-E6A4-C815BF977441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3605212" y="4025900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4" name="Straight Connector 873">
            <a:extLst>
              <a:ext uri="{FF2B5EF4-FFF2-40B4-BE49-F238E27FC236}">
                <a16:creationId xmlns:a16="http://schemas.microsoft.com/office/drawing/2014/main" id="{90137937-1FBB-3612-F5A5-46567493FB9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3605212" y="3222625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5" name="Straight Connector 874">
            <a:extLst>
              <a:ext uri="{FF2B5EF4-FFF2-40B4-BE49-F238E27FC236}">
                <a16:creationId xmlns:a16="http://schemas.microsoft.com/office/drawing/2014/main" id="{5A4CD7D5-DAB8-E313-6794-2FA5C4664533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3605212" y="3648075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B14CA7D1-90BA-4370-2E47-3340250563A4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3605212" y="2806700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3B48EAF4-1A93-2A45-6F14-6A30B89660E0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3605212" y="2892425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Straight Connector 155">
            <a:extLst>
              <a:ext uri="{FF2B5EF4-FFF2-40B4-BE49-F238E27FC236}">
                <a16:creationId xmlns:a16="http://schemas.microsoft.com/office/drawing/2014/main" id="{EE9E4A5C-B237-0B35-1A03-7021B4C3998B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White">
          <a:xfrm>
            <a:off x="1470024" y="4605338"/>
            <a:ext cx="1187450" cy="0"/>
          </a:xfrm>
          <a:prstGeom prst="line">
            <a:avLst/>
          </a:prstGeom>
          <a:ln w="9525" cap="flat" cmpd="sng" algn="ctr">
            <a:solidFill>
              <a:srgbClr val="FFFFFF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Straight Connector 156">
            <a:extLst>
              <a:ext uri="{FF2B5EF4-FFF2-40B4-BE49-F238E27FC236}">
                <a16:creationId xmlns:a16="http://schemas.microsoft.com/office/drawing/2014/main" id="{9855D5B4-ECD0-159C-FAA7-58BCC7CEE95C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1470024" y="4545013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8" name="Straight Connector 1087">
            <a:extLst>
              <a:ext uri="{FF2B5EF4-FFF2-40B4-BE49-F238E27FC236}">
                <a16:creationId xmlns:a16="http://schemas.microsoft.com/office/drawing/2014/main" id="{7184725C-F8E3-82EB-2C5F-49BC3856A1E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1470024" y="4319588"/>
            <a:ext cx="1187450" cy="0"/>
          </a:xfrm>
          <a:prstGeom prst="line">
            <a:avLst/>
          </a:prstGeom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73" name="Straight Connector 872">
            <a:extLst>
              <a:ext uri="{FF2B5EF4-FFF2-40B4-BE49-F238E27FC236}">
                <a16:creationId xmlns:a16="http://schemas.microsoft.com/office/drawing/2014/main" id="{EF550EAA-DAC2-121E-EA7D-34678A7A0C6A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1470024" y="3729038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89" name="Straight Connector 1088">
            <a:extLst>
              <a:ext uri="{FF2B5EF4-FFF2-40B4-BE49-F238E27FC236}">
                <a16:creationId xmlns:a16="http://schemas.microsoft.com/office/drawing/2014/main" id="{CAE78BC9-FBD6-DCBE-D48E-A44CD51D8FB1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1470024" y="4154488"/>
            <a:ext cx="1187450" cy="0"/>
          </a:xfrm>
          <a:prstGeom prst="line">
            <a:avLst/>
          </a:prstGeom>
          <a:ln w="19050" cap="flat" cmpd="sng" algn="ctr">
            <a:solidFill>
              <a:srgbClr val="FFC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1" name="Straight Connector 150">
            <a:extLst>
              <a:ext uri="{FF2B5EF4-FFF2-40B4-BE49-F238E27FC236}">
                <a16:creationId xmlns:a16="http://schemas.microsoft.com/office/drawing/2014/main" id="{5CEA058C-9854-BBAC-2A57-4ADA2C67FAC1}"/>
              </a:ext>
            </a:extLst>
          </p:cNvPr>
          <p:cNvCxnSpPr/>
          <p:nvPr>
            <p:custDataLst>
              <p:tags r:id="rId40"/>
            </p:custDataLst>
          </p:nvPr>
        </p:nvCxnSpPr>
        <p:spPr bwMode="gray">
          <a:xfrm>
            <a:off x="1470024" y="3373438"/>
            <a:ext cx="1187450" cy="0"/>
          </a:xfrm>
          <a:prstGeom prst="line">
            <a:avLst/>
          </a:prstGeom>
          <a:ln w="19050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31" name="Straight Connector 1130">
            <a:extLst>
              <a:ext uri="{FF2B5EF4-FFF2-40B4-BE49-F238E27FC236}">
                <a16:creationId xmlns:a16="http://schemas.microsoft.com/office/drawing/2014/main" id="{A0E2C0EC-EFAE-6125-FCA2-8E93324581CF}"/>
              </a:ext>
            </a:extLst>
          </p:cNvPr>
          <p:cNvCxnSpPr/>
          <p:nvPr>
            <p:custDataLst>
              <p:tags r:id="rId41"/>
            </p:custDataLst>
          </p:nvPr>
        </p:nvCxnSpPr>
        <p:spPr bwMode="gray">
          <a:xfrm flipH="1">
            <a:off x="11122025" y="3800475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4" name="Straight Connector 183">
            <a:extLst>
              <a:ext uri="{FF2B5EF4-FFF2-40B4-BE49-F238E27FC236}">
                <a16:creationId xmlns:a16="http://schemas.microsoft.com/office/drawing/2014/main" id="{94D94CBA-E0D8-AE57-13BF-B5498BCE90E4}"/>
              </a:ext>
            </a:extLst>
          </p:cNvPr>
          <p:cNvCxnSpPr>
            <a:cxnSpLocks/>
          </p:cNvCxnSpPr>
          <p:nvPr>
            <p:custDataLst>
              <p:tags r:id="rId42"/>
            </p:custDataLst>
          </p:nvPr>
        </p:nvCxnSpPr>
        <p:spPr bwMode="gray">
          <a:xfrm flipH="1">
            <a:off x="2581275" y="4575175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6" name="Straight Connector 945">
            <a:extLst>
              <a:ext uri="{FF2B5EF4-FFF2-40B4-BE49-F238E27FC236}">
                <a16:creationId xmlns:a16="http://schemas.microsoft.com/office/drawing/2014/main" id="{B30893F9-A3AB-C0C1-BA37-3DC3E6789682}"/>
              </a:ext>
            </a:extLst>
          </p:cNvPr>
          <p:cNvCxnSpPr>
            <a:cxnSpLocks/>
          </p:cNvCxnSpPr>
          <p:nvPr>
            <p:custDataLst>
              <p:tags r:id="rId43"/>
            </p:custDataLst>
          </p:nvPr>
        </p:nvCxnSpPr>
        <p:spPr bwMode="gray">
          <a:xfrm flipH="1">
            <a:off x="11122025" y="4368800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4DDAC405-C845-7951-5BE5-3632113459F8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31800" y="1270000"/>
            <a:ext cx="5057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Co alignment development by financed emissions, 2019-2023 (tCO2e) </a:t>
            </a:r>
          </a:p>
        </p:txBody>
      </p:sp>
      <p:sp>
        <p:nvSpPr>
          <p:cNvPr id="414" name="Text Placeholder">
            <a:extLst>
              <a:ext uri="{FF2B5EF4-FFF2-40B4-BE49-F238E27FC236}">
                <a16:creationId xmlns:a16="http://schemas.microsoft.com/office/drawing/2014/main" id="{644814EE-595E-109D-3990-34B3FC9F7903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741488" y="3238500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F5CBA3B-8520-4FA3-8B63-BEE0E003EDB6}" type="datetime'''''''''P''''''o''''rt''Co'''' 8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2" name="Text Placeholder">
            <a:extLst>
              <a:ext uri="{FF2B5EF4-FFF2-40B4-BE49-F238E27FC236}">
                <a16:creationId xmlns:a16="http://schemas.microsoft.com/office/drawing/2014/main" id="{8AFDDC7A-401E-9EA0-7375-F064AC4DC70C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1741488" y="34607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16F5B37-87B6-45FA-89FB-0D9235E79577}" type="datetime'''''''Po''''''rt''''''''''''''''''''''''''''''C''o'' ''7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88" name="Text Placeholder">
            <a:extLst>
              <a:ext uri="{FF2B5EF4-FFF2-40B4-BE49-F238E27FC236}">
                <a16:creationId xmlns:a16="http://schemas.microsoft.com/office/drawing/2014/main" id="{7BE8FD78-D3C3-0768-3076-FEC0B8FD493C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1741488" y="38512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43491-6A30-4C5B-8AEA-1554251AF8AC}" type="datetime'''''Po''''''''''r''tC''''o'''''''''' 6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3" name="Text Placeholder">
            <a:extLst>
              <a:ext uri="{FF2B5EF4-FFF2-40B4-BE49-F238E27FC236}">
                <a16:creationId xmlns:a16="http://schemas.microsoft.com/office/drawing/2014/main" id="{A803D05A-CDAC-2120-54D8-8E0E63763AE7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1741488" y="41465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63489EF-697B-4BFD-B08E-F1A7F19BF58A}" type="datetime'''''Po''r''''t''''''C''''o'' ''5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2" name="Text Placeholder">
            <a:extLst>
              <a:ext uri="{FF2B5EF4-FFF2-40B4-BE49-F238E27FC236}">
                <a16:creationId xmlns:a16="http://schemas.microsoft.com/office/drawing/2014/main" id="{210EFAC2-EC8E-1365-4FD0-3EC4FCCED4BB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1741488" y="43418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B5D27A-D195-46BA-A2DB-EA63368336DC}" type="datetime'''''''''''Po''''r''''''''''''''t''''Co'' ''''''''4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7" name="Text Placeholder">
            <a:extLst>
              <a:ext uri="{FF2B5EF4-FFF2-40B4-BE49-F238E27FC236}">
                <a16:creationId xmlns:a16="http://schemas.microsoft.com/office/drawing/2014/main" id="{52BD0859-7263-9DF7-1588-FB3B2ADE0868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2676525" y="44846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8F177B5-40E3-48A8-927D-24CDDBAD6946}" type="datetime'''''P''''''''''o''''''r''''''''''''''''''''''''''tCo ''3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0" name="Text Placeholder">
            <a:extLst>
              <a:ext uri="{FF2B5EF4-FFF2-40B4-BE49-F238E27FC236}">
                <a16:creationId xmlns:a16="http://schemas.microsoft.com/office/drawing/2014/main" id="{888A8438-7C8D-481C-3D16-2B3BD2CAD12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741488" y="46926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465FAF-BE9A-4E02-9BC6-EDAAB7FB032D}" type="datetime'''''''Po''''''''r''''tC''''''''''''''''''''''o ''''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6" name="Text Placeholder">
            <a:extLst>
              <a:ext uri="{FF2B5EF4-FFF2-40B4-BE49-F238E27FC236}">
                <a16:creationId xmlns:a16="http://schemas.microsoft.com/office/drawing/2014/main" id="{BB7A08DB-186A-EC6E-3BA1-597AA8B5D2B0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1741488" y="50053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53168E-345C-445B-BB75-57028B306059}" type="datetime'''''''Po''''''''rtC''''''''o'' ''''1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5" name="Text Placeholder">
            <a:extLst>
              <a:ext uri="{FF2B5EF4-FFF2-40B4-BE49-F238E27FC236}">
                <a16:creationId xmlns:a16="http://schemas.microsoft.com/office/drawing/2014/main" id="{83E872CE-D407-8F79-58FA-027E37025CE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6011863" y="41703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C782D1E-76BF-439F-9F3C-2CAADE274B3B}" type="datetime'''''''''''''''''P''o''''''''''''''''''''rt''Co ''''''4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4" name="Text Placeholder">
            <a:extLst>
              <a:ext uri="{FF2B5EF4-FFF2-40B4-BE49-F238E27FC236}">
                <a16:creationId xmlns:a16="http://schemas.microsoft.com/office/drawing/2014/main" id="{801040D3-46D6-D36D-256C-94D7AB0FF63E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6011863" y="45450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4DC625-B92E-428A-BE4D-D14E28E3CBA3}" type="datetime'Po''''''''''r''tC''''o'''''''' ''''''''3'''''''''">
              <a:rPr lang="en-GB" altLang="en-US" sz="1200" smtClean="0"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/>
          </a:p>
        </p:txBody>
      </p:sp>
      <p:sp>
        <p:nvSpPr>
          <p:cNvPr id="746" name="Text Placeholder">
            <a:extLst>
              <a:ext uri="{FF2B5EF4-FFF2-40B4-BE49-F238E27FC236}">
                <a16:creationId xmlns:a16="http://schemas.microsoft.com/office/drawing/2014/main" id="{F9626A26-B6B5-6494-E440-6F02DD69365F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6011863" y="37068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1F4804-D61D-4FF9-A8F8-D3433B897B87}" type="datetime'Port''''''''''C''''''o'' ''''''''''''''''''''''''''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3" name="Text Placeholder">
            <a:extLst>
              <a:ext uri="{FF2B5EF4-FFF2-40B4-BE49-F238E27FC236}">
                <a16:creationId xmlns:a16="http://schemas.microsoft.com/office/drawing/2014/main" id="{65845199-1240-BEF7-FEFE-C2AD50FE841C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6011863" y="4981575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C3ACA7-87CF-4C6A-8266-0BE135668F21}" type="datetime'Po''''''''rt''''''''''''''C''''''''o'''''' 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6" name="Text Placeholder">
            <a:extLst>
              <a:ext uri="{FF2B5EF4-FFF2-40B4-BE49-F238E27FC236}">
                <a16:creationId xmlns:a16="http://schemas.microsoft.com/office/drawing/2014/main" id="{EA24CAEA-70DE-0D12-A343-B2553B6C2A41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6159500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5C8022E-4096-4572-B523-177B401CD2FF}" type="datetime'''2''''''''''''''''''''0''2''''''''''1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2" name="Text Placeholder">
            <a:extLst>
              <a:ext uri="{FF2B5EF4-FFF2-40B4-BE49-F238E27FC236}">
                <a16:creationId xmlns:a16="http://schemas.microsoft.com/office/drawing/2014/main" id="{4506F795-7030-CAB9-141A-CAE3FD712F41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8105775" y="261937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9BC11E-BF76-475A-8A9B-61EFE17A26E3}" type="datetime'''''P''''''''''''''''or''''''t''''''''''C''o'' 1''0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0" name="Text Placeholder">
            <a:extLst>
              <a:ext uri="{FF2B5EF4-FFF2-40B4-BE49-F238E27FC236}">
                <a16:creationId xmlns:a16="http://schemas.microsoft.com/office/drawing/2014/main" id="{F0392582-E4B9-B872-E064-BDAED74FBE8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8147050" y="30083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E0DF15-1B3C-4CD7-AF3E-C0C1786BEBB4}" type="datetime'''''''''''Po''''''''r''''''t''''''C''''o'''' ''9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8" name="Text Placeholder">
            <a:extLst>
              <a:ext uri="{FF2B5EF4-FFF2-40B4-BE49-F238E27FC236}">
                <a16:creationId xmlns:a16="http://schemas.microsoft.com/office/drawing/2014/main" id="{F1BA280F-F523-2575-C79C-AE49079733DD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6011863" y="33401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2E6870-0064-454C-8A1F-2BA4EB8F3FE4}" type="datetime'''P''''''''''''''o''rt''''C''''''''''''''o'''''' 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59" name="Text Placeholder">
            <a:extLst>
              <a:ext uri="{FF2B5EF4-FFF2-40B4-BE49-F238E27FC236}">
                <a16:creationId xmlns:a16="http://schemas.microsoft.com/office/drawing/2014/main" id="{E2EEB48D-43CD-CD30-62E3-D08A8A88119F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6011863" y="3133725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1B873E-6037-49E0-99C2-06268FDA72AC}" type="datetime'''''''P''''''''o''''r''tCo'''''''''' ''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9" name="Text Placeholder">
            <a:extLst>
              <a:ext uri="{FF2B5EF4-FFF2-40B4-BE49-F238E27FC236}">
                <a16:creationId xmlns:a16="http://schemas.microsoft.com/office/drawing/2014/main" id="{37613CB3-AD79-D17E-E441-E24EF5F1F7DF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8147050" y="3244850"/>
            <a:ext cx="644525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D166F83-71F9-4CCE-BC6E-25818E76C54E}" type="datetime'''''''P''''''''''''''o''''''''''r''t''''''C''o'' ''8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77" name="Text Placeholder">
            <a:extLst>
              <a:ext uri="{FF2B5EF4-FFF2-40B4-BE49-F238E27FC236}">
                <a16:creationId xmlns:a16="http://schemas.microsoft.com/office/drawing/2014/main" id="{18476FE9-27D4-AD6A-7CA0-B2C4323E253B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8147050" y="34464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E6F1EA-A45C-42B7-813B-525712D8F4F5}" type="datetime'''P''''''''''o''rt''''''''Co'' ''''''''''''''''''''''7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1" name="Text Placeholder">
            <a:extLst>
              <a:ext uri="{FF2B5EF4-FFF2-40B4-BE49-F238E27FC236}">
                <a16:creationId xmlns:a16="http://schemas.microsoft.com/office/drawing/2014/main" id="{6338F495-2C5F-9416-8890-03B62570FFE5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6011863" y="28924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7BEA4F-711C-4300-A960-7775532E5C90}" type="datetime'''P''''''''''''''''o''r''t''C''o'''' ''9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9894650-E9EB-95B7-8DDD-2B7795B59219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5970588" y="252730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4D81783-5148-498B-8E7C-487C47A1B9A4}" type="datetime'''''''''''''P''o''''''''''''''''''r''''tC''''o'''''''' 10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98" name="Text Placeholder">
            <a:extLst>
              <a:ext uri="{FF2B5EF4-FFF2-40B4-BE49-F238E27FC236}">
                <a16:creationId xmlns:a16="http://schemas.microsoft.com/office/drawing/2014/main" id="{2A941DC2-2C3C-5713-480E-86094C2090A3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8147050" y="38179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38E68AA-1B85-4089-93F4-056AE4AE7698}" type="datetime'''P''''''''''''or''t''C''''''''''''''''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66" name="Text Placeholder">
            <a:extLst>
              <a:ext uri="{FF2B5EF4-FFF2-40B4-BE49-F238E27FC236}">
                <a16:creationId xmlns:a16="http://schemas.microsoft.com/office/drawing/2014/main" id="{23385A7E-4080-D0F5-F9FE-8913CFDEA739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8147050" y="41084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14F428-D642-4BD6-955C-B78BDA13326B}" type="datetime'''''''Por''''''t''C''''''''o'''''''''''''''''''''''''' 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5" name="Text Placeholder">
            <a:extLst>
              <a:ext uri="{FF2B5EF4-FFF2-40B4-BE49-F238E27FC236}">
                <a16:creationId xmlns:a16="http://schemas.microsoft.com/office/drawing/2014/main" id="{80E1A659-AB49-2849-24D6-71E7E1B59E98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4024313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5DA8FD0-E208-4795-BBDC-172332F31C7A}" type="datetime'''''''''''''''2''''''''''''''''''0''20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3" name="Text Placeholder">
            <a:extLst>
              <a:ext uri="{FF2B5EF4-FFF2-40B4-BE49-F238E27FC236}">
                <a16:creationId xmlns:a16="http://schemas.microsoft.com/office/drawing/2014/main" id="{9ADDAA87-A748-F4DD-35FB-53C05AE855BF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3876675" y="47164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48B085-9490-47A1-A241-F275CFF3B2C7}" type="datetime'''''P''''''''''''or''''''''''''''tC''''''''''''''o'''' ''2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5" name="Text Placeholder">
            <a:extLst>
              <a:ext uri="{FF2B5EF4-FFF2-40B4-BE49-F238E27FC236}">
                <a16:creationId xmlns:a16="http://schemas.microsoft.com/office/drawing/2014/main" id="{B0313C73-506F-1C01-5C7F-7C7984C92FC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8147050" y="42878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DC1001-870B-4EC6-BA73-3ABA6C8110ED}" type="datetime'''''P''''''''o''rt''''C''''o'''''''' ''''''''4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9" name="Text Placeholder">
            <a:extLst>
              <a:ext uri="{FF2B5EF4-FFF2-40B4-BE49-F238E27FC236}">
                <a16:creationId xmlns:a16="http://schemas.microsoft.com/office/drawing/2014/main" id="{065CFA20-C2FE-45F8-3687-D2D7A763A98A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8147050" y="46450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91D16F-14B3-441E-B9B9-F733CD0E6F2A}" type="datetime'''''''''''''''P''''''o''''''''r''''tCo'' ''''''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4" name="Text Placeholder">
            <a:extLst>
              <a:ext uri="{FF2B5EF4-FFF2-40B4-BE49-F238E27FC236}">
                <a16:creationId xmlns:a16="http://schemas.microsoft.com/office/drawing/2014/main" id="{A1C3B422-29D6-1D78-8DE6-0240AAA41527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3876675" y="42433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3D622C4-4B30-4C8E-B3A4-75A4C1AAB17B}" type="datetime'''P''''o''''''''r''t''''''''''''''C''''''o'' ''''''''3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52" name="Text Placeholder">
            <a:extLst>
              <a:ext uri="{FF2B5EF4-FFF2-40B4-BE49-F238E27FC236}">
                <a16:creationId xmlns:a16="http://schemas.microsoft.com/office/drawing/2014/main" id="{7E18EE19-93E3-B20E-C786-564F0D81EB2D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8147050" y="5022850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ACC29C-4ED9-4CFC-8990-F6098C8D5A18}" type="datetime'''''''''''Por''''''''t''''''''C''''''''''''''''''o ''''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5" name="Text Placeholder">
            <a:extLst>
              <a:ext uri="{FF2B5EF4-FFF2-40B4-BE49-F238E27FC236}">
                <a16:creationId xmlns:a16="http://schemas.microsoft.com/office/drawing/2014/main" id="{755DDC48-52F7-B2BF-DA01-F57BA79268CA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876675" y="38290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4F7408-78EA-427F-AEEC-FBFE2033C486}" type="datetime'''Po''''r''''t''C''''''''''o'''''''''''''''' 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7" name="Text Placeholder">
            <a:extLst>
              <a:ext uri="{FF2B5EF4-FFF2-40B4-BE49-F238E27FC236}">
                <a16:creationId xmlns:a16="http://schemas.microsoft.com/office/drawing/2014/main" id="{B50EC9B6-058C-8AB6-D299-3EC4C8A14D4D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10240963" y="304165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2AEB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4D0C99-F8E9-43BF-86DB-3FFEE9EDCD26}" type="datetime'''''''''''''P''o''rt''''C''''''''''''''o'' ''''''''''''1''0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70" name="Text Placeholder">
            <a:extLst>
              <a:ext uri="{FF2B5EF4-FFF2-40B4-BE49-F238E27FC236}">
                <a16:creationId xmlns:a16="http://schemas.microsoft.com/office/drawing/2014/main" id="{77CBBDFB-AC1A-AE42-9999-8425490E5EE7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10282238" y="33496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0DD726-595E-47EF-8171-29CD74D62E7F}" type="datetime'''P''''''''''''''''''o''''''''r''t''''''''''C''''''''''o 9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35" name="Text Placeholder">
            <a:extLst>
              <a:ext uri="{FF2B5EF4-FFF2-40B4-BE49-F238E27FC236}">
                <a16:creationId xmlns:a16="http://schemas.microsoft.com/office/drawing/2014/main" id="{180A2E74-F605-072A-183B-A8EAE85B7618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3876675" y="36401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6F8B20-D4E5-4367-9BA1-43EA6C575F2E}" type="datetime'P''''''''o''''r''''''''t''C''o'''''' ''''''''''''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6" name="Text Placeholder">
            <a:extLst>
              <a:ext uri="{FF2B5EF4-FFF2-40B4-BE49-F238E27FC236}">
                <a16:creationId xmlns:a16="http://schemas.microsoft.com/office/drawing/2014/main" id="{FDE9C4E3-73E6-E06E-CC0E-188BB9A43948}"/>
              </a:ext>
            </a:extLst>
          </p:cNvPr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3876675" y="33448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2920D5-E8D4-4578-A712-2341A57AC1B2}" type="datetime'Por''''''''''t''''Co'''''''''''''''''''' ''''''6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5" name="Text Placeholder">
            <a:extLst>
              <a:ext uri="{FF2B5EF4-FFF2-40B4-BE49-F238E27FC236}">
                <a16:creationId xmlns:a16="http://schemas.microsoft.com/office/drawing/2014/main" id="{93C414FA-76E6-926A-7142-3E3B4127332A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10282238" y="3559175"/>
            <a:ext cx="644525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34FCE9-0B20-4F2E-94F5-938904715A15}" type="datetime'P''''''o''''r''''''''''''t''''''''C''o'''' ''8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83" name="Text Placeholder">
            <a:extLst>
              <a:ext uri="{FF2B5EF4-FFF2-40B4-BE49-F238E27FC236}">
                <a16:creationId xmlns:a16="http://schemas.microsoft.com/office/drawing/2014/main" id="{F1D4C098-6A02-642A-FF29-D0E6B0C821CD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11217275" y="37099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A1BD2F8F-5555-42A6-B70B-D71E1C860067}" type="datetime'''''''''P''''o''''''r''t''''''''C''''''''''o'''''''' 7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7" name="Text Placeholder">
            <a:extLst>
              <a:ext uri="{FF2B5EF4-FFF2-40B4-BE49-F238E27FC236}">
                <a16:creationId xmlns:a16="http://schemas.microsoft.com/office/drawing/2014/main" id="{654B8ABC-0344-0AA9-1823-69E542A965EE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6011863" y="39909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E9CAB8-DC14-4F19-ABB9-884FB8A4BF06}" type="datetime'''''Por''t''''''''''''''''''''''C''''o'' ''5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7" name="Text Placeholder">
            <a:extLst>
              <a:ext uri="{FF2B5EF4-FFF2-40B4-BE49-F238E27FC236}">
                <a16:creationId xmlns:a16="http://schemas.microsoft.com/office/drawing/2014/main" id="{BF9E2EEE-3601-136B-AE9C-FBC4E98DA304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3876675" y="29670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DBB3ECA-8FA3-40B7-9879-AD633610766A}" type="datetime'''''''Po''''r''t''''''''''C''''''o'' ''''7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49" name="Text Placeholder">
            <a:extLst>
              <a:ext uri="{FF2B5EF4-FFF2-40B4-BE49-F238E27FC236}">
                <a16:creationId xmlns:a16="http://schemas.microsoft.com/office/drawing/2014/main" id="{9B1379E0-CE5E-ECBD-F20C-B517F6327884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3876675" y="2759075"/>
            <a:ext cx="644525" cy="182563"/>
          </a:xfrm>
          <a:prstGeom prst="rect">
            <a:avLst/>
          </a:prstGeom>
          <a:solidFill>
            <a:srgbClr val="82AEB1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E82B29C-848E-4471-89FF-71461353AE24}" type="datetime'''''''Port''''''''''''''C''o'''''' 8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9" name="Text Placeholder">
            <a:extLst>
              <a:ext uri="{FF2B5EF4-FFF2-40B4-BE49-F238E27FC236}">
                <a16:creationId xmlns:a16="http://schemas.microsoft.com/office/drawing/2014/main" id="{C6765EDE-1161-24FE-CB41-02F89A7E41BA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10282238" y="4017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599263-7585-49F9-BB54-458264733A6F}" type="datetime'''''''''P''''o''''''''''''''r''t''''C''''''''o'''''' ''''6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03" name="Text Placeholder">
            <a:extLst>
              <a:ext uri="{FF2B5EF4-FFF2-40B4-BE49-F238E27FC236}">
                <a16:creationId xmlns:a16="http://schemas.microsoft.com/office/drawing/2014/main" id="{A979ACD5-A05E-763E-26C9-EBDE3FE04CDC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11217275" y="427831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4D5F270-6BA6-4061-BB7C-2F95B680D446}" type="datetime'''''''''P''''''''or''''''''''''t''''C''o'''''''''''''' ''''5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42" name="Text Placeholder">
            <a:extLst>
              <a:ext uri="{FF2B5EF4-FFF2-40B4-BE49-F238E27FC236}">
                <a16:creationId xmlns:a16="http://schemas.microsoft.com/office/drawing/2014/main" id="{B9B7040D-9693-FB95-39FC-93057FDAA6ED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3876675" y="50117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0F0F0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FD856D-6990-443A-812C-4DB06462EC29}" type="datetime'''''Po''''''''''r''''''t''''''''''C''''o ''''''''''''''''''1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2FBFAF08-D72E-BAD0-9C97-9C68AFB3C671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3876675" y="250348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1E1E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13FD0E-F075-448A-9006-8A0FF1548BC2}" type="datetime'P''''''''''''or''t''''''Co'' ''''''9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3" name="Text Placeholder">
            <a:extLst>
              <a:ext uri="{FF2B5EF4-FFF2-40B4-BE49-F238E27FC236}">
                <a16:creationId xmlns:a16="http://schemas.microsoft.com/office/drawing/2014/main" id="{E198A091-AF22-6F50-FC01-5C8E3FB157AD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188912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A5F56A-9E3B-4699-AC5C-390B4A3E3FAE}" type="datetime'''2''''0''''''1''''''''''''9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2" name="Text Placeholder">
            <a:extLst>
              <a:ext uri="{FF2B5EF4-FFF2-40B4-BE49-F238E27FC236}">
                <a16:creationId xmlns:a16="http://schemas.microsoft.com/office/drawing/2014/main" id="{79E63064-A4DB-2A7F-56EF-B6253D24EC31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10282238" y="443865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43868B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6234760-CA38-4425-9771-04F224A1EBF5}" type="datetime'''''''''''P''o''''r''t''''''''''C''''''''''''''o ''''''4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068" name="Text Placeholder">
            <a:extLst>
              <a:ext uri="{FF2B5EF4-FFF2-40B4-BE49-F238E27FC236}">
                <a16:creationId xmlns:a16="http://schemas.microsoft.com/office/drawing/2014/main" id="{4F23FBB5-8009-AF41-494B-668DCCCE519B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10282238" y="470376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E59534-7C17-4D40-9509-5AD090D7DC19}" type="datetime'P''''''''''o''r''''''t''''''C''''''''''''''o'''''' ''3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67" name="Text Placeholder">
            <a:extLst>
              <a:ext uri="{FF2B5EF4-FFF2-40B4-BE49-F238E27FC236}">
                <a16:creationId xmlns:a16="http://schemas.microsoft.com/office/drawing/2014/main" id="{9F9451D0-9449-2E47-8C01-80A77FE06742}"/>
              </a:ext>
            </a:extLst>
          </p:cNvPr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10282238" y="50117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BAB9B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FB22C0-1352-45CF-95B7-E4B9534868AC}" type="datetime'P''''''or''''''''''t''''''''''Co'''''''''''''' 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2" name="Text Placeholder">
            <a:extLst>
              <a:ext uri="{FF2B5EF4-FFF2-40B4-BE49-F238E27FC236}">
                <a16:creationId xmlns:a16="http://schemas.microsoft.com/office/drawing/2014/main" id="{26AE4979-1C02-E393-42B3-39E316359C04}"/>
              </a:ext>
            </a:extLst>
          </p:cNvPr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10429875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AE6C8F-CA77-4CEB-B8BF-8FD88764C4C3}" type="datetime'''''''''''''''''2''''''''0''23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28" name="Text Placeholder">
            <a:extLst>
              <a:ext uri="{FF2B5EF4-FFF2-40B4-BE49-F238E27FC236}">
                <a16:creationId xmlns:a16="http://schemas.microsoft.com/office/drawing/2014/main" id="{F9DA3AF4-F6A3-E676-1930-B0201DE2F4DC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1852613" y="305593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A67B0AB-E49C-4930-A5B7-A604783FAD30}" type="datetime'''8'''''''''',2''''''''''''''30'''''''">
              <a:rPr lang="en-GB" altLang="en-US" sz="1200" smtClean="0">
                <a:solidFill>
                  <a:srgbClr val="000000"/>
                </a:solidFill>
              </a:rPr>
              <a:pPr/>
              <a:t>8,23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29" name="Text Placeholder">
            <a:extLst>
              <a:ext uri="{FF2B5EF4-FFF2-40B4-BE49-F238E27FC236}">
                <a16:creationId xmlns:a16="http://schemas.microsoft.com/office/drawing/2014/main" id="{8E036842-A02B-3418-4623-95F789713CEE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3944938" y="2173288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97BA19E-A10B-406A-AD90-E1BB0C215F33}" type="datetime'''''''''1''''''2'''''''''',''''0''''''''''6''''''0'''''''''''">
              <a:rPr lang="en-GB" altLang="en-US" sz="1200" smtClean="0">
                <a:solidFill>
                  <a:srgbClr val="000000"/>
                </a:solidFill>
              </a:rPr>
              <a:pPr/>
              <a:t>12,06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0" name="Text Placeholder">
            <a:extLst>
              <a:ext uri="{FF2B5EF4-FFF2-40B4-BE49-F238E27FC236}">
                <a16:creationId xmlns:a16="http://schemas.microsoft.com/office/drawing/2014/main" id="{7E96FDC6-4F80-2E10-2F6E-796A0B1741EF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6086475" y="2244725"/>
            <a:ext cx="496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32CE5C-C484-447E-8145-B62E021FB2BF}" type="datetime'1''1'''''',''''''''''7''6''''''''0'">
              <a:rPr lang="en-GB" altLang="en-US" sz="1200" smtClean="0">
                <a:solidFill>
                  <a:srgbClr val="000000"/>
                </a:solidFill>
              </a:rPr>
              <a:pPr/>
              <a:t>11,76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1" name="Text Placeholder">
            <a:extLst>
              <a:ext uri="{FF2B5EF4-FFF2-40B4-BE49-F238E27FC236}">
                <a16:creationId xmlns:a16="http://schemas.microsoft.com/office/drawing/2014/main" id="{4217D731-96E2-A65C-9638-B7F19659ABED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gray">
          <a:xfrm>
            <a:off x="8221663" y="2312988"/>
            <a:ext cx="496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6012140-7373-4BD3-97A2-016DB0AF9C0B}" type="datetime'''''1''''1,4''''''''''''''''''''7''''''''''''0'''''''''''">
              <a:rPr lang="en-GB" altLang="en-US" sz="1200" smtClean="0">
                <a:solidFill>
                  <a:srgbClr val="000000"/>
                </a:solidFill>
              </a:rPr>
              <a:pPr/>
              <a:t>11,47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2" name="Text Placeholder">
            <a:extLst>
              <a:ext uri="{FF2B5EF4-FFF2-40B4-BE49-F238E27FC236}">
                <a16:creationId xmlns:a16="http://schemas.microsoft.com/office/drawing/2014/main" id="{0769564F-CAD3-CDFD-05F3-195D9A2760FD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gray">
          <a:xfrm>
            <a:off x="10393363" y="27955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14102B-2389-4E44-8F45-A610425253F2}" type="datetime'''''''''''''''''9,4''''''''''''''''''''''''3''''''''''0'''">
              <a:rPr lang="en-GB" altLang="en-US" sz="1200" smtClean="0">
                <a:solidFill>
                  <a:srgbClr val="000000"/>
                </a:solidFill>
              </a:rPr>
              <a:pPr/>
              <a:t>9,43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7" name="Text Placeholder">
            <a:extLst>
              <a:ext uri="{FF2B5EF4-FFF2-40B4-BE49-F238E27FC236}">
                <a16:creationId xmlns:a16="http://schemas.microsoft.com/office/drawing/2014/main" id="{8671314C-A52A-A87C-AD85-B79C03F6091D}"/>
              </a:ext>
            </a:extLst>
          </p:cNvPr>
          <p:cNvSpPr>
            <a:spLocks/>
          </p:cNvSpPr>
          <p:nvPr>
            <p:custDataLst>
              <p:tags r:id="rId98"/>
            </p:custDataLst>
          </p:nvPr>
        </p:nvSpPr>
        <p:spPr bwMode="auto">
          <a:xfrm>
            <a:off x="8294688" y="5283200"/>
            <a:ext cx="3492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D8F2263-7C8F-4417-9FB5-0CAF3B66EE82}" type="datetime'2''''''''''0''''''''''''''''''''''2''''''''2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52F3ABFA-E393-8892-6A67-C52126B10E9C}"/>
              </a:ext>
            </a:extLst>
          </p:cNvPr>
          <p:cNvGrpSpPr/>
          <p:nvPr>
            <p:custDataLst>
              <p:tags r:id="rId99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20" name="btfpStatusStickerText352542">
              <a:extLst>
                <a:ext uri="{FF2B5EF4-FFF2-40B4-BE49-F238E27FC236}">
                  <a16:creationId xmlns:a16="http://schemas.microsoft.com/office/drawing/2014/main" id="{FBC39A0F-A61D-B6BF-A99F-CEBA4C43BAC9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1" name="btfpStatusStickerLine352542">
              <a:extLst>
                <a:ext uri="{FF2B5EF4-FFF2-40B4-BE49-F238E27FC236}">
                  <a16:creationId xmlns:a16="http://schemas.microsoft.com/office/drawing/2014/main" id="{E27A0473-BEC9-3815-0685-0E303C09F1A3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55F90F41-76A5-20AC-58AB-169E92F17ACA}"/>
              </a:ext>
            </a:extLst>
          </p:cNvPr>
          <p:cNvGrpSpPr/>
          <p:nvPr/>
        </p:nvGrpSpPr>
        <p:grpSpPr>
          <a:xfrm>
            <a:off x="1409434" y="5682874"/>
            <a:ext cx="10528570" cy="677324"/>
            <a:chOff x="1409434" y="5682874"/>
            <a:chExt cx="10528570" cy="6773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0C3F175-6CE9-B1BB-24CF-134228447770}"/>
                </a:ext>
              </a:extLst>
            </p:cNvPr>
            <p:cNvSpPr/>
            <p:nvPr/>
          </p:nvSpPr>
          <p:spPr bwMode="gray">
            <a:xfrm>
              <a:off x="1695449" y="5682874"/>
              <a:ext cx="10166355" cy="65491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CB930AC-74E2-EECA-FBD9-92CEBD8760BB}"/>
                </a:ext>
              </a:extLst>
            </p:cNvPr>
            <p:cNvSpPr txBox="1"/>
            <p:nvPr/>
          </p:nvSpPr>
          <p:spPr bwMode="gray">
            <a:xfrm>
              <a:off x="1409434" y="5893583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: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6A78D93B-18AB-E79F-C367-4E4C889358D2}"/>
                </a:ext>
              </a:extLst>
            </p:cNvPr>
            <p:cNvSpPr/>
            <p:nvPr/>
          </p:nvSpPr>
          <p:spPr bwMode="gray">
            <a:xfrm>
              <a:off x="1989947" y="6106852"/>
              <a:ext cx="194734" cy="126212"/>
            </a:xfrm>
            <a:prstGeom prst="rect">
              <a:avLst/>
            </a:prstGeom>
            <a:solidFill>
              <a:srgbClr val="F0F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27C04B9-38C9-2729-ABB3-4CC3933E8A43}"/>
                </a:ext>
              </a:extLst>
            </p:cNvPr>
            <p:cNvSpPr/>
            <p:nvPr/>
          </p:nvSpPr>
          <p:spPr bwMode="gray">
            <a:xfrm>
              <a:off x="4178723" y="6106852"/>
              <a:ext cx="194734" cy="126212"/>
            </a:xfrm>
            <a:prstGeom prst="rect">
              <a:avLst/>
            </a:prstGeom>
            <a:solidFill>
              <a:srgbClr val="BAB9B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77813873-7C1A-E470-0C43-9546F9265AA9}"/>
                </a:ext>
              </a:extLst>
            </p:cNvPr>
            <p:cNvSpPr txBox="1"/>
            <p:nvPr/>
          </p:nvSpPr>
          <p:spPr bwMode="gray">
            <a:xfrm>
              <a:off x="2218547" y="6056663"/>
              <a:ext cx="74467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1EC4764-5BA3-72BF-8D10-BE06673FAE5F}"/>
                </a:ext>
              </a:extLst>
            </p:cNvPr>
            <p:cNvSpPr/>
            <p:nvPr/>
          </p:nvSpPr>
          <p:spPr bwMode="gray">
            <a:xfrm>
              <a:off x="7315231" y="6106852"/>
              <a:ext cx="194734" cy="126212"/>
            </a:xfrm>
            <a:prstGeom prst="rect">
              <a:avLst/>
            </a:prstGeom>
            <a:solidFill>
              <a:srgbClr val="82AEB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471D01E-00DC-D17A-7937-0D8C84680F7C}"/>
                </a:ext>
              </a:extLst>
            </p:cNvPr>
            <p:cNvSpPr txBox="1"/>
            <p:nvPr/>
          </p:nvSpPr>
          <p:spPr bwMode="gray">
            <a:xfrm>
              <a:off x="7545458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covers Scope 1-3)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B14694E-3229-55D9-0828-86600E1FCCBD}"/>
                </a:ext>
              </a:extLst>
            </p:cNvPr>
            <p:cNvSpPr txBox="1"/>
            <p:nvPr/>
          </p:nvSpPr>
          <p:spPr bwMode="gray">
            <a:xfrm>
              <a:off x="4408510" y="5979718"/>
              <a:ext cx="14265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4CBFDB50-7205-D27F-5214-022CB3C42736}"/>
                </a:ext>
              </a:extLst>
            </p:cNvPr>
            <p:cNvSpPr/>
            <p:nvPr/>
          </p:nvSpPr>
          <p:spPr bwMode="gray">
            <a:xfrm>
              <a:off x="9054861" y="6106852"/>
              <a:ext cx="194734" cy="126212"/>
            </a:xfrm>
            <a:prstGeom prst="rect">
              <a:avLst/>
            </a:prstGeom>
            <a:solidFill>
              <a:srgbClr val="43868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AF07A3FB-0B75-5301-82C4-BEC2D95BEDE2}"/>
                </a:ext>
              </a:extLst>
            </p:cNvPr>
            <p:cNvSpPr txBox="1"/>
            <p:nvPr/>
          </p:nvSpPr>
          <p:spPr bwMode="gray">
            <a:xfrm>
              <a:off x="9299789" y="5979718"/>
              <a:ext cx="164007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ing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DFBA28CE-A9FE-AC98-1DA0-D7D40B30A74E}"/>
                </a:ext>
              </a:extLst>
            </p:cNvPr>
            <p:cNvSpPr/>
            <p:nvPr/>
          </p:nvSpPr>
          <p:spPr bwMode="gray">
            <a:xfrm>
              <a:off x="10463743" y="6106852"/>
              <a:ext cx="194734" cy="126212"/>
            </a:xfrm>
            <a:prstGeom prst="rect">
              <a:avLst/>
            </a:prstGeom>
            <a:solidFill>
              <a:srgbClr val="045E6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463CD33-337B-D97C-C567-1136ADE61DD7}"/>
                </a:ext>
              </a:extLst>
            </p:cNvPr>
            <p:cNvSpPr txBox="1"/>
            <p:nvPr/>
          </p:nvSpPr>
          <p:spPr bwMode="gray">
            <a:xfrm>
              <a:off x="10708672" y="5979718"/>
              <a:ext cx="122933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ed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ADADB4AC-D39C-26B2-FDE4-6D1493DF308F}"/>
                </a:ext>
              </a:extLst>
            </p:cNvPr>
            <p:cNvSpPr/>
            <p:nvPr/>
          </p:nvSpPr>
          <p:spPr bwMode="gray">
            <a:xfrm>
              <a:off x="2998714" y="6106852"/>
              <a:ext cx="194734" cy="126212"/>
            </a:xfrm>
            <a:prstGeom prst="rect">
              <a:avLst/>
            </a:prstGeom>
            <a:pattFill prst="wdUpDiag">
              <a:fgClr>
                <a:srgbClr val="858585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90131F48-D31F-C0EA-14FD-F9C04E563763}"/>
                </a:ext>
              </a:extLst>
            </p:cNvPr>
            <p:cNvSpPr txBox="1"/>
            <p:nvPr/>
          </p:nvSpPr>
          <p:spPr bwMode="gray">
            <a:xfrm>
              <a:off x="3228501" y="5979718"/>
              <a:ext cx="9242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cope 1&amp;2)</a:t>
              </a: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32078C4C-B400-6096-622C-61799FBBFC00}"/>
                </a:ext>
              </a:extLst>
            </p:cNvPr>
            <p:cNvSpPr/>
            <p:nvPr/>
          </p:nvSpPr>
          <p:spPr bwMode="gray">
            <a:xfrm>
              <a:off x="5563137" y="6106852"/>
              <a:ext cx="194734" cy="126212"/>
            </a:xfrm>
            <a:prstGeom prst="rect">
              <a:avLst/>
            </a:prstGeom>
            <a:pattFill prst="wdUpDiag">
              <a:fgClr>
                <a:srgbClr val="83AC9A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81BC275F-520F-FF1E-F3E3-9789E5E8E914}"/>
                </a:ext>
              </a:extLst>
            </p:cNvPr>
            <p:cNvSpPr txBox="1"/>
            <p:nvPr/>
          </p:nvSpPr>
          <p:spPr bwMode="gray">
            <a:xfrm>
              <a:off x="5793364" y="597971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Scope 1&amp;2)</a:t>
              </a:r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A396F020-B49E-2EE1-B957-1A5918055068}"/>
                </a:ext>
              </a:extLst>
            </p:cNvPr>
            <p:cNvSpPr/>
            <p:nvPr/>
          </p:nvSpPr>
          <p:spPr bwMode="gray">
            <a:xfrm>
              <a:off x="3848635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C8285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AF1761C4-243D-53C9-6235-767B43B76020}"/>
                </a:ext>
              </a:extLst>
            </p:cNvPr>
            <p:cNvSpPr txBox="1"/>
            <p:nvPr/>
          </p:nvSpPr>
          <p:spPr bwMode="gray">
            <a:xfrm>
              <a:off x="4082596" y="5759294"/>
              <a:ext cx="172658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 Current </a:t>
              </a:r>
              <a:r>
                <a:rPr lang="en-GB" sz="1000" dirty="0">
                  <a:solidFill>
                    <a:srgbClr val="000000"/>
                  </a:solidFill>
                  <a:latin typeface="Arial"/>
                </a:rPr>
                <a:t>P</a:t>
              </a: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thway to Align</a:t>
              </a:r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E02F4069-DA7A-D6D8-BFE4-77B0983F3A7C}"/>
                </a:ext>
              </a:extLst>
            </p:cNvPr>
            <p:cNvSpPr/>
            <p:nvPr/>
          </p:nvSpPr>
          <p:spPr bwMode="gray">
            <a:xfrm>
              <a:off x="5887321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3EFC809D-8761-A2F7-B697-43DA4E2AE46F}"/>
                </a:ext>
              </a:extLst>
            </p:cNvPr>
            <p:cNvSpPr txBox="1"/>
            <p:nvPr/>
          </p:nvSpPr>
          <p:spPr bwMode="gray">
            <a:xfrm>
              <a:off x="6121282" y="5759294"/>
              <a:ext cx="1695403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Emerging Decarb. Enabler</a:t>
              </a:r>
            </a:p>
          </p:txBody>
        </p:sp>
        <p:sp>
          <p:nvSpPr>
            <p:cNvPr id="128" name="Rectangle 127">
              <a:extLst>
                <a:ext uri="{FF2B5EF4-FFF2-40B4-BE49-F238E27FC236}">
                  <a16:creationId xmlns:a16="http://schemas.microsoft.com/office/drawing/2014/main" id="{62E28C2E-F616-840B-1682-ADEA9B10A85D}"/>
                </a:ext>
              </a:extLst>
            </p:cNvPr>
            <p:cNvSpPr/>
            <p:nvPr/>
          </p:nvSpPr>
          <p:spPr bwMode="gray">
            <a:xfrm>
              <a:off x="7887206" y="5764589"/>
              <a:ext cx="216000" cy="216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7D9E48B5-05C2-0BDA-B6D7-AF7434F769B9}"/>
                </a:ext>
              </a:extLst>
            </p:cNvPr>
            <p:cNvSpPr txBox="1"/>
            <p:nvPr/>
          </p:nvSpPr>
          <p:spPr bwMode="gray">
            <a:xfrm>
              <a:off x="8121167" y="5759294"/>
              <a:ext cx="1473819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Decarbonisation Enabler</a:t>
              </a:r>
            </a:p>
          </p:txBody>
        </p:sp>
      </p:grpSp>
      <p:sp>
        <p:nvSpPr>
          <p:cNvPr id="1002" name="Rectangle 1001">
            <a:extLst>
              <a:ext uri="{FF2B5EF4-FFF2-40B4-BE49-F238E27FC236}">
                <a16:creationId xmlns:a16="http://schemas.microsoft.com/office/drawing/2014/main" id="{782EAD6C-57C1-B875-7382-984BC4AC74AC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1146" name="btfpRunningAgenda1Level573689">
            <a:extLst>
              <a:ext uri="{FF2B5EF4-FFF2-40B4-BE49-F238E27FC236}">
                <a16:creationId xmlns:a16="http://schemas.microsoft.com/office/drawing/2014/main" id="{F052349D-7646-1E79-2D5B-6DBEB2BD4290}"/>
              </a:ext>
            </a:extLst>
          </p:cNvPr>
          <p:cNvGrpSpPr/>
          <p:nvPr>
            <p:custDataLst>
              <p:tags r:id="rId100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1147" name="btfpRunningAgenda1LevelBarLeft573689">
              <a:extLst>
                <a:ext uri="{FF2B5EF4-FFF2-40B4-BE49-F238E27FC236}">
                  <a16:creationId xmlns:a16="http://schemas.microsoft.com/office/drawing/2014/main" id="{2B46BF6C-ADB1-09BC-058B-6F211C978ACB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48" name="btfpRunningAgenda1LevelTextLeft573689">
              <a:extLst>
                <a:ext uri="{FF2B5EF4-FFF2-40B4-BE49-F238E27FC236}">
                  <a16:creationId xmlns:a16="http://schemas.microsoft.com/office/drawing/2014/main" id="{66F6C380-2E62-CCD2-1944-C001BCAA0C07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149" name="btfpBulletedList862308">
            <a:extLst>
              <a:ext uri="{FF2B5EF4-FFF2-40B4-BE49-F238E27FC236}">
                <a16:creationId xmlns:a16="http://schemas.microsoft.com/office/drawing/2014/main" id="{1B3279AA-9C6E-A811-A986-59625290271A}"/>
              </a:ext>
            </a:extLst>
          </p:cNvPr>
          <p:cNvSpPr/>
          <p:nvPr/>
        </p:nvSpPr>
        <p:spPr bwMode="gray">
          <a:xfrm>
            <a:off x="8954100" y="0"/>
            <a:ext cx="3237900" cy="273403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Potentially delete PortCos if too many displayed and focus on, e.g., top 10-15 by financed emissions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Adjust colour-coding (alignment stages &amp; classifications) based on PMDR Support Tool colouring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1150" name="Oval 1149">
            <a:extLst>
              <a:ext uri="{FF2B5EF4-FFF2-40B4-BE49-F238E27FC236}">
                <a16:creationId xmlns:a16="http://schemas.microsoft.com/office/drawing/2014/main" id="{C0A89530-EBD3-6736-2761-49291C313430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4</a:t>
            </a:r>
          </a:p>
        </p:txBody>
      </p:sp>
      <p:sp>
        <p:nvSpPr>
          <p:cNvPr id="8" name="btfpNotesBox530799">
            <a:extLst>
              <a:ext uri="{FF2B5EF4-FFF2-40B4-BE49-F238E27FC236}">
                <a16:creationId xmlns:a16="http://schemas.microsoft.com/office/drawing/2014/main" id="{E60986F6-A228-5426-8639-440F4A569E7B}"/>
              </a:ext>
            </a:extLst>
          </p:cNvPr>
          <p:cNvSpPr txBox="1"/>
          <p:nvPr>
            <p:custDataLst>
              <p:tags r:id="rId101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; </a:t>
            </a:r>
            <a:r>
              <a:rPr lang="en-GB" sz="800" dirty="0">
                <a:solidFill>
                  <a:srgbClr val="000000"/>
                </a:solidFill>
              </a:rPr>
              <a:t>Financed emissions of PortCos present in different funds aggrega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637176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84436639-65A9-084A-365D-DAD091841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728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84" imgH="486" progId="TCLayout.ActiveDocument.1">
                  <p:embed/>
                </p:oleObj>
              </mc:Choice>
              <mc:Fallback>
                <p:oleObj name="think-cell Slide" r:id="rId38" imgW="484" imgH="48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36639-65A9-084A-365D-DAD091841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" name="btfpColumnIndicatorGroup2">
            <a:extLst>
              <a:ext uri="{FF2B5EF4-FFF2-40B4-BE49-F238E27FC236}">
                <a16:creationId xmlns:a16="http://schemas.microsoft.com/office/drawing/2014/main" id="{21CB3FC9-D311-67E1-CC08-55315709440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9" name="btfpColumnGapBlocker894193">
              <a:extLst>
                <a:ext uri="{FF2B5EF4-FFF2-40B4-BE49-F238E27FC236}">
                  <a16:creationId xmlns:a16="http://schemas.microsoft.com/office/drawing/2014/main" id="{B42B4FD5-C7B7-1B3E-BCA0-2345E410DFC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7" name="btfpColumnGapBlocker902874">
              <a:extLst>
                <a:ext uri="{FF2B5EF4-FFF2-40B4-BE49-F238E27FC236}">
                  <a16:creationId xmlns:a16="http://schemas.microsoft.com/office/drawing/2014/main" id="{F05A0654-A439-9222-859D-5B6C743D33E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btfpColumnIndicator753711">
              <a:extLst>
                <a:ext uri="{FF2B5EF4-FFF2-40B4-BE49-F238E27FC236}">
                  <a16:creationId xmlns:a16="http://schemas.microsoft.com/office/drawing/2014/main" id="{38AE9F45-DC42-D542-B6C8-ECA0D3FBE5E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btfpColumnIndicator189368">
              <a:extLst>
                <a:ext uri="{FF2B5EF4-FFF2-40B4-BE49-F238E27FC236}">
                  <a16:creationId xmlns:a16="http://schemas.microsoft.com/office/drawing/2014/main" id="{07CD870F-59F4-4595-9E7C-6E1FB37E312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btfpColumnIndicatorGroup1">
            <a:extLst>
              <a:ext uri="{FF2B5EF4-FFF2-40B4-BE49-F238E27FC236}">
                <a16:creationId xmlns:a16="http://schemas.microsoft.com/office/drawing/2014/main" id="{9DA6D20A-B5A4-C816-AFD9-DDD91724C4F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8" name="btfpColumnGapBlocker677403">
              <a:extLst>
                <a:ext uri="{FF2B5EF4-FFF2-40B4-BE49-F238E27FC236}">
                  <a16:creationId xmlns:a16="http://schemas.microsoft.com/office/drawing/2014/main" id="{AD5FAA07-D24B-08AB-D18B-643110C61C9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6" name="btfpColumnGapBlocker663733">
              <a:extLst>
                <a:ext uri="{FF2B5EF4-FFF2-40B4-BE49-F238E27FC236}">
                  <a16:creationId xmlns:a16="http://schemas.microsoft.com/office/drawing/2014/main" id="{B7D87FBA-D77D-F829-87F5-31EDED803A2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4" name="btfpColumnIndicator124033">
              <a:extLst>
                <a:ext uri="{FF2B5EF4-FFF2-40B4-BE49-F238E27FC236}">
                  <a16:creationId xmlns:a16="http://schemas.microsoft.com/office/drawing/2014/main" id="{943BA600-2C9D-78E5-80B1-0CB7B3F390E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btfpColumnIndicator418915">
              <a:extLst>
                <a:ext uri="{FF2B5EF4-FFF2-40B4-BE49-F238E27FC236}">
                  <a16:creationId xmlns:a16="http://schemas.microsoft.com/office/drawing/2014/main" id="{ABE7BB6D-0C0F-86F0-67BF-CC77D9B6391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F85098-78A2-F419-E8FA-CDED760BB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3048000" algn="l"/>
              </a:tabLst>
            </a:pPr>
            <a:r>
              <a:rPr lang="en-GB" dirty="0"/>
              <a:t>Portfolio progress since acquisition by PortCos</a:t>
            </a:r>
          </a:p>
        </p:txBody>
      </p:sp>
      <p:grpSp>
        <p:nvGrpSpPr>
          <p:cNvPr id="18" name="btfpStatusSticker352542">
            <a:extLst>
              <a:ext uri="{FF2B5EF4-FFF2-40B4-BE49-F238E27FC236}">
                <a16:creationId xmlns:a16="http://schemas.microsoft.com/office/drawing/2014/main" id="{E700A1BA-61FA-F266-5F01-1316FB2CB8F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19" name="btfpStatusStickerText352542">
              <a:extLst>
                <a:ext uri="{FF2B5EF4-FFF2-40B4-BE49-F238E27FC236}">
                  <a16:creationId xmlns:a16="http://schemas.microsoft.com/office/drawing/2014/main" id="{405A3EDC-7616-51E1-5750-9B16DAD19B1C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0" name="btfpStatusStickerLine352542">
              <a:extLst>
                <a:ext uri="{FF2B5EF4-FFF2-40B4-BE49-F238E27FC236}">
                  <a16:creationId xmlns:a16="http://schemas.microsoft.com/office/drawing/2014/main" id="{9996C917-3686-8604-2C71-944B194C6631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ADA87D8-F842-27B0-C34C-767149323841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05650854"/>
              </p:ext>
            </p:extLst>
          </p:nvPr>
        </p:nvGraphicFramePr>
        <p:xfrm>
          <a:off x="1897063" y="1398588"/>
          <a:ext cx="10042525" cy="36369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22" name="Text Placeholder">
            <a:extLst>
              <a:ext uri="{FF2B5EF4-FFF2-40B4-BE49-F238E27FC236}">
                <a16:creationId xmlns:a16="http://schemas.microsoft.com/office/drawing/2014/main" id="{3F696060-7941-A890-FDE8-DC1C145A780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616074" y="4678363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2444B64-8EB1-45E2-8D45-71D588D9FD3D}" type="datetime'''''''''''''''''0 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AACE6691-85F3-8CE5-6350-D59BC337356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531938" y="405765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54E3AC0-6289-49AD-917F-E96B9BFDD1F7}" type="datetime'''2''''''''''''0 %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00789E72-956D-75F1-BBA7-9C4CC9BB80CD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531938" y="34369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2C53A99-C5FC-4104-AD15-8CCC471A2B67}" type="datetime'''''''''4''''''0'' ''''''''''''''''''''''''''''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5" name="Text Placeholder">
            <a:extLst>
              <a:ext uri="{FF2B5EF4-FFF2-40B4-BE49-F238E27FC236}">
                <a16:creationId xmlns:a16="http://schemas.microsoft.com/office/drawing/2014/main" id="{E1545E0C-BD69-3EB6-4D91-3E931F5F45DC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531938" y="28162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329DBEC-8582-44B3-8925-D0DD08408A33}" type="datetime'''''''''''''6''''''''''''''''''''''0'''' ''''''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34406A7F-09C3-76C2-3BAF-3028A9CBBE2D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531938" y="219551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183482C-3801-4745-8832-A7383B6831DC}" type="datetime'''''''''''''''''''''''''''''80'''''''''''''''''' 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AFCE8B3F-A6E5-2818-44C9-E438DE2240D6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447800" y="157480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EA43242-15B5-4EE9-BEAC-46C1F4221184}" type="datetime'''''''1''''0''''''''''''0'''''''''''''''''' ''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1CC291-3517-D8AA-2EBD-9F5FCC755F1C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3184525" y="4651375"/>
            <a:ext cx="95250" cy="650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8483EA8-21AE-C2C4-0A16-275871907A86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 flipV="1">
            <a:off x="3184525" y="1819276"/>
            <a:ext cx="95250" cy="11906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8C11528-5CC1-0D8D-C308-784773641AAD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 flipV="1">
            <a:off x="3184525" y="1716088"/>
            <a:ext cx="95250" cy="396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5349F69C-D3B5-5BBD-4147-A525F869FA2D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447800" y="1270000"/>
            <a:ext cx="43862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by progress since acquisition, as of 2023 (% of PortCos)</a:t>
            </a: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49F0A07B-CBD7-3BC8-6F4C-18D337B0C8C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1979613" y="4860925"/>
            <a:ext cx="16462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8D48ED-62A4-4D46-AF7A-FB322187E911}" type="datetime'''''''T''''''''''''''''''''''''''ot''''a''''''''''l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04FBA6C6-990C-781E-FB33-403ABFCF5E7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5272089" y="4860925"/>
            <a:ext cx="1603375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60325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B5CB84-0EBE-43F7-9EE9-558552E6D3A8}" type="datetime'''Captu''r''''''''i''n''''''g ''''''''''Da''ta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Capturing Data</a:t>
            </a:fld>
            <a:br>
              <a:rPr lang="en-GB" altLang="en-US" sz="1200" dirty="0">
                <a:solidFill>
                  <a:srgbClr val="000000"/>
                </a:solidFill>
              </a:rPr>
            </a:br>
            <a:r>
              <a:rPr lang="en-GB" altLang="en-US" sz="1200" dirty="0">
                <a:solidFill>
                  <a:srgbClr val="000000"/>
                </a:solidFill>
              </a:rPr>
              <a:t>(min. Scope 1&amp;2)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03BDB576-AC79-A473-33F0-F8A6B61C90C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6875463" y="4860925"/>
            <a:ext cx="1733550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FB0E9A-B0C5-4EF3-B6C3-3C9E94904FF8}" type="datetime'Prepar''in''''''g to ''D''''''ec''''arb''o''''n''i''''se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reparing to Decarbonise</a:t>
            </a:fld>
            <a:br>
              <a:rPr lang="en-GB" altLang="en-US" sz="1200" dirty="0">
                <a:solidFill>
                  <a:srgbClr val="000000"/>
                </a:solidFill>
              </a:rPr>
            </a:br>
            <a:r>
              <a:rPr lang="en-GB" altLang="en-US" sz="1200" dirty="0">
                <a:solidFill>
                  <a:srgbClr val="000000"/>
                </a:solidFill>
              </a:rPr>
              <a:t>(min. Scope 1&amp;2)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14625AC3-0403-D2F9-1383-B01F8C1E0A4D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625849" y="4860925"/>
            <a:ext cx="16462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6528156-1BBF-4557-94A8-65BFE05442A1}" type="datetime'N''''o''t'' ''''''S''t''''arte''''''''''d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Not Started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FE8EC26B-EDD9-7AC0-920E-BA2F6B3C1A6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8609013" y="4860925"/>
            <a:ext cx="16017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4445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E8C0DD0-4633-4319-BE88-25A787E57958}" type="datetime'''A''''''''''''l''i''''''g''''n''''''''i''''''''n''''''g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igning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783312DD-6997-027C-F96B-364799D46E0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10210799" y="4860925"/>
            <a:ext cx="164623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152400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70E708D-81D2-4EAA-B881-EBBA4CC5C7C1}" type="datetime'''''A''''''''l''ig''''''''''''n''''''e''d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Aligned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80" name="Straight Connector 79">
            <a:extLst>
              <a:ext uri="{FF2B5EF4-FFF2-40B4-BE49-F238E27FC236}">
                <a16:creationId xmlns:a16="http://schemas.microsoft.com/office/drawing/2014/main" id="{F1D466EA-FC74-845B-0E98-0FD11FFF1B4E}"/>
              </a:ext>
            </a:extLst>
          </p:cNvPr>
          <p:cNvCxnSpPr>
            <a:cxnSpLocks/>
          </p:cNvCxnSpPr>
          <p:nvPr/>
        </p:nvCxnSpPr>
        <p:spPr bwMode="gray">
          <a:xfrm>
            <a:off x="3643202" y="1624868"/>
            <a:ext cx="0" cy="4288703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C4BCFD1-933A-AF09-2D20-E8CA606E7558}"/>
              </a:ext>
            </a:extLst>
          </p:cNvPr>
          <p:cNvGrpSpPr/>
          <p:nvPr/>
        </p:nvGrpSpPr>
        <p:grpSpPr>
          <a:xfrm>
            <a:off x="2089804" y="5930465"/>
            <a:ext cx="9771997" cy="383934"/>
            <a:chOff x="2089804" y="6113337"/>
            <a:chExt cx="9771997" cy="383934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BFF34EF-0FF4-90B5-51F3-6ABE4E3D913E}"/>
                </a:ext>
              </a:extLst>
            </p:cNvPr>
            <p:cNvSpPr/>
            <p:nvPr/>
          </p:nvSpPr>
          <p:spPr bwMode="gray">
            <a:xfrm>
              <a:off x="2368556" y="6113337"/>
              <a:ext cx="9493244" cy="3839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00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0732A3A-8B18-B305-109D-74804745DE23}"/>
                </a:ext>
              </a:extLst>
            </p:cNvPr>
            <p:cNvGrpSpPr/>
            <p:nvPr/>
          </p:nvGrpSpPr>
          <p:grpSpPr>
            <a:xfrm>
              <a:off x="4360138" y="6116791"/>
              <a:ext cx="1412896" cy="380480"/>
              <a:chOff x="4057338" y="5987907"/>
              <a:chExt cx="1412896" cy="380480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F575F8E-E549-B6BB-F613-A81F42112AF1}"/>
                  </a:ext>
                </a:extLst>
              </p:cNvPr>
              <p:cNvSpPr/>
              <p:nvPr/>
            </p:nvSpPr>
            <p:spPr bwMode="gray">
              <a:xfrm>
                <a:off x="4057338" y="6115041"/>
                <a:ext cx="194734" cy="12621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A255B8E-6EBA-2529-147E-AA74DAA5A525}"/>
                  </a:ext>
                </a:extLst>
              </p:cNvPr>
              <p:cNvSpPr txBox="1"/>
              <p:nvPr/>
            </p:nvSpPr>
            <p:spPr bwMode="gray">
              <a:xfrm>
                <a:off x="4276411" y="5987907"/>
                <a:ext cx="1193823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Unchanged since acquisition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0413E91E-862E-E848-9674-FEEB7034E90D}"/>
                </a:ext>
              </a:extLst>
            </p:cNvPr>
            <p:cNvGrpSpPr/>
            <p:nvPr/>
          </p:nvGrpSpPr>
          <p:grpSpPr>
            <a:xfrm>
              <a:off x="2781301" y="6116791"/>
              <a:ext cx="1534046" cy="380480"/>
              <a:chOff x="2473257" y="5987907"/>
              <a:chExt cx="1534046" cy="380480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C96F061-51C9-F005-2EC5-AC2E2A8D7B03}"/>
                  </a:ext>
                </a:extLst>
              </p:cNvPr>
              <p:cNvSpPr/>
              <p:nvPr/>
            </p:nvSpPr>
            <p:spPr bwMode="gray">
              <a:xfrm>
                <a:off x="2473257" y="6115041"/>
                <a:ext cx="194734" cy="12621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73F145E-59D2-E9B8-98DA-A62A2267BB60}"/>
                  </a:ext>
                </a:extLst>
              </p:cNvPr>
              <p:cNvSpPr txBox="1"/>
              <p:nvPr/>
            </p:nvSpPr>
            <p:spPr bwMode="gray">
              <a:xfrm>
                <a:off x="2681537" y="5987907"/>
                <a:ext cx="1325766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Regressed &gt;0 stages since acq.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0D0A9A4-9576-2D3A-E95F-6126CABAC0F2}"/>
                </a:ext>
              </a:extLst>
            </p:cNvPr>
            <p:cNvGrpSpPr/>
            <p:nvPr/>
          </p:nvGrpSpPr>
          <p:grpSpPr>
            <a:xfrm>
              <a:off x="10384400" y="6116791"/>
              <a:ext cx="1477401" cy="380480"/>
              <a:chOff x="9925642" y="5987907"/>
              <a:chExt cx="1477401" cy="380480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6D1AD554-332F-C9C1-739C-02E56737500B}"/>
                  </a:ext>
                </a:extLst>
              </p:cNvPr>
              <p:cNvSpPr/>
              <p:nvPr/>
            </p:nvSpPr>
            <p:spPr bwMode="gray">
              <a:xfrm>
                <a:off x="9925642" y="6115041"/>
                <a:ext cx="194734" cy="126212"/>
              </a:xfrm>
              <a:prstGeom prst="rect">
                <a:avLst/>
              </a:prstGeom>
              <a:solidFill>
                <a:srgbClr val="104C3E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B39484E-3193-32F6-E19B-B9C9AAE75EA6}"/>
                  </a:ext>
                </a:extLst>
              </p:cNvPr>
              <p:cNvSpPr txBox="1"/>
              <p:nvPr/>
            </p:nvSpPr>
            <p:spPr bwMode="gray">
              <a:xfrm>
                <a:off x="10155428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4</a:t>
                </a:r>
                <a:r>
                  <a:rPr lang="en-GB" sz="1000" dirty="0">
                    <a:latin typeface="+mj-lt"/>
                  </a:rPr>
                  <a:t> stages since acq.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70FB949-8B8E-18A7-9586-55B53B92619F}"/>
                </a:ext>
              </a:extLst>
            </p:cNvPr>
            <p:cNvGrpSpPr/>
            <p:nvPr/>
          </p:nvGrpSpPr>
          <p:grpSpPr>
            <a:xfrm>
              <a:off x="8862209" y="6116791"/>
              <a:ext cx="1477401" cy="380480"/>
              <a:chOff x="8432239" y="5987907"/>
              <a:chExt cx="1477401" cy="38048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E086F264-0703-EED9-36A0-4B267C59FD42}"/>
                  </a:ext>
                </a:extLst>
              </p:cNvPr>
              <p:cNvSpPr/>
              <p:nvPr/>
            </p:nvSpPr>
            <p:spPr bwMode="gray">
              <a:xfrm>
                <a:off x="8432239" y="6115041"/>
                <a:ext cx="194734" cy="126212"/>
              </a:xfrm>
              <a:prstGeom prst="rect">
                <a:avLst/>
              </a:prstGeom>
              <a:solidFill>
                <a:srgbClr val="507867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A50AC5D8-FDD6-B359-2EC0-1EDEB1B6C716}"/>
                  </a:ext>
                </a:extLst>
              </p:cNvPr>
              <p:cNvSpPr txBox="1"/>
              <p:nvPr/>
            </p:nvSpPr>
            <p:spPr bwMode="gray">
              <a:xfrm>
                <a:off x="8662025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3 </a:t>
                </a:r>
                <a:r>
                  <a:rPr lang="en-GB" sz="1000" dirty="0">
                    <a:latin typeface="+mj-lt"/>
                  </a:rPr>
                  <a:t>stages since acq.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A28C310-FBD3-5196-D1FF-ED0A7CEB8B5A}"/>
                </a:ext>
              </a:extLst>
            </p:cNvPr>
            <p:cNvGrpSpPr/>
            <p:nvPr/>
          </p:nvGrpSpPr>
          <p:grpSpPr>
            <a:xfrm>
              <a:off x="7340017" y="6116791"/>
              <a:ext cx="1477401" cy="380480"/>
              <a:chOff x="6942973" y="5987907"/>
              <a:chExt cx="1477401" cy="380480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5958B9E1-A477-4CC2-70A4-B1F9A5F7E547}"/>
                  </a:ext>
                </a:extLst>
              </p:cNvPr>
              <p:cNvSpPr/>
              <p:nvPr/>
            </p:nvSpPr>
            <p:spPr bwMode="gray">
              <a:xfrm>
                <a:off x="6942973" y="6115041"/>
                <a:ext cx="194734" cy="126212"/>
              </a:xfrm>
              <a:prstGeom prst="rect">
                <a:avLst/>
              </a:prstGeom>
              <a:solidFill>
                <a:srgbClr val="83AC9A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9842669-30A4-E943-5B8F-0A0AC570DC3F}"/>
                  </a:ext>
                </a:extLst>
              </p:cNvPr>
              <p:cNvSpPr txBox="1"/>
              <p:nvPr/>
            </p:nvSpPr>
            <p:spPr bwMode="gray">
              <a:xfrm>
                <a:off x="7172759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2 </a:t>
                </a:r>
                <a:r>
                  <a:rPr lang="en-GB" sz="1000" dirty="0">
                    <a:latin typeface="+mj-lt"/>
                  </a:rPr>
                  <a:t>stages since acq.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BD96079-9C8D-4A11-0A44-965378983898}"/>
                </a:ext>
              </a:extLst>
            </p:cNvPr>
            <p:cNvGrpSpPr/>
            <p:nvPr/>
          </p:nvGrpSpPr>
          <p:grpSpPr>
            <a:xfrm>
              <a:off x="5817825" y="6116791"/>
              <a:ext cx="1477401" cy="380480"/>
              <a:chOff x="5430407" y="5987907"/>
              <a:chExt cx="1477401" cy="380480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559DB1C3-F9C1-3F75-ACE2-6F6118029647}"/>
                  </a:ext>
                </a:extLst>
              </p:cNvPr>
              <p:cNvSpPr/>
              <p:nvPr/>
            </p:nvSpPr>
            <p:spPr bwMode="gray">
              <a:xfrm>
                <a:off x="5430407" y="6115041"/>
                <a:ext cx="194734" cy="126212"/>
              </a:xfrm>
              <a:prstGeom prst="rect">
                <a:avLst/>
              </a:prstGeom>
              <a:solidFill>
                <a:srgbClr val="DCE2D6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EB75593E-4DE6-D338-6417-9E98FF1DE4E6}"/>
                  </a:ext>
                </a:extLst>
              </p:cNvPr>
              <p:cNvSpPr txBox="1"/>
              <p:nvPr/>
            </p:nvSpPr>
            <p:spPr bwMode="gray">
              <a:xfrm>
                <a:off x="5660193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1</a:t>
                </a:r>
                <a:r>
                  <a:rPr lang="en-GB" sz="1000" dirty="0">
                    <a:latin typeface="+mj-lt"/>
                  </a:rPr>
                  <a:t> stage since acq.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2A347DC-536D-B5B1-4BBE-3D90E1F31BC1}"/>
                </a:ext>
              </a:extLst>
            </p:cNvPr>
            <p:cNvSpPr txBox="1"/>
            <p:nvPr/>
          </p:nvSpPr>
          <p:spPr bwMode="gray">
            <a:xfrm>
              <a:off x="2089804" y="6188555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GB" sz="1000" b="1" dirty="0">
                  <a:solidFill>
                    <a:srgbClr val="000000"/>
                  </a:solidFill>
                </a:rPr>
                <a:t>Legend:</a:t>
              </a:r>
            </a:p>
          </p:txBody>
        </p:sp>
      </p:grpSp>
      <p:grpSp>
        <p:nvGrpSpPr>
          <p:cNvPr id="101" name="btfpRunningAgenda1Level573689">
            <a:extLst>
              <a:ext uri="{FF2B5EF4-FFF2-40B4-BE49-F238E27FC236}">
                <a16:creationId xmlns:a16="http://schemas.microsoft.com/office/drawing/2014/main" id="{54C9FCF1-DA46-CABA-7825-ACAE44E741DA}"/>
              </a:ext>
            </a:extLst>
          </p:cNvPr>
          <p:cNvGrpSpPr/>
          <p:nvPr>
            <p:custDataLst>
              <p:tags r:id="rId21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102" name="btfpRunningAgenda1LevelBarLeft573689">
              <a:extLst>
                <a:ext uri="{FF2B5EF4-FFF2-40B4-BE49-F238E27FC236}">
                  <a16:creationId xmlns:a16="http://schemas.microsoft.com/office/drawing/2014/main" id="{0C4A0F1E-58C6-D455-9B05-B6FF56A2FD1D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03" name="btfpRunningAgenda1LevelTextLeft573689">
              <a:extLst>
                <a:ext uri="{FF2B5EF4-FFF2-40B4-BE49-F238E27FC236}">
                  <a16:creationId xmlns:a16="http://schemas.microsoft.com/office/drawing/2014/main" id="{BE4C73C1-5AB7-4DC7-3F39-96BECBD8EB26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104" name="Oval 103">
            <a:extLst>
              <a:ext uri="{FF2B5EF4-FFF2-40B4-BE49-F238E27FC236}">
                <a16:creationId xmlns:a16="http://schemas.microsoft.com/office/drawing/2014/main" id="{4CB73867-31E6-A068-857D-C688E1C3EAFF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34" name="Text Placeholder">
            <a:extLst>
              <a:ext uri="{FF2B5EF4-FFF2-40B4-BE49-F238E27FC236}">
                <a16:creationId xmlns:a16="http://schemas.microsoft.com/office/drawing/2014/main" id="{0A1B530E-AF85-FDE8-D4D9-98CD5C09EB3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330200" y="5286375"/>
            <a:ext cx="32956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5F37A62-43FF-4488-960B-F013E7DB7FE9}" type="datetime'Fina''''''nc''''''e''''d emi''ss''i''''o''n''''''''s (''''%)'">
              <a:rPr lang="en-US" altLang="en-US" sz="1200" smtClean="0"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(%)</a:t>
            </a:fld>
            <a:endParaRPr lang="en-US" sz="120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35" name="Text Placeholder">
            <a:extLst>
              <a:ext uri="{FF2B5EF4-FFF2-40B4-BE49-F238E27FC236}">
                <a16:creationId xmlns:a16="http://schemas.microsoft.com/office/drawing/2014/main" id="{D087156F-9AA1-7C1D-6DC6-BE10D807FFAE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330200" y="5621338"/>
            <a:ext cx="32956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09EC0BE-B5E6-42D0-BB1C-BABCC65F1C94}" type="datetime'''I''''n''''v''''es''''ted'' ''Ca''pi''tal'' ''''(''%'')'''''">
              <a:rPr lang="en-US" altLang="en-US" sz="1200" smtClean="0"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US" sz="1200" dirty="0">
              <a:solidFill>
                <a:srgbClr val="000000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58" name="Text Placeholder">
            <a:extLst>
              <a:ext uri="{FF2B5EF4-FFF2-40B4-BE49-F238E27FC236}">
                <a16:creationId xmlns:a16="http://schemas.microsoft.com/office/drawing/2014/main" id="{FEA97698-D169-E7BF-A240-EBB3A4FFBEC3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979613" y="5286375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00B9806-C606-45D4-A98F-C8D39CFFDB47}" type="datetime'''''''1''''''''0''''''''''0'''''''''' ''''%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9" name="Text Placeholder">
            <a:extLst>
              <a:ext uri="{FF2B5EF4-FFF2-40B4-BE49-F238E27FC236}">
                <a16:creationId xmlns:a16="http://schemas.microsoft.com/office/drawing/2014/main" id="{A2797482-92A6-9691-A681-61C3AAB8CDA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3625849" y="5286375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1913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E07F1A4-EBC4-4DC1-95CB-C1607343781F}" type="datetime'''''''''4''''''''''''7 ''''''''%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7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0" name="Text Placeholder">
            <a:extLst>
              <a:ext uri="{FF2B5EF4-FFF2-40B4-BE49-F238E27FC236}">
                <a16:creationId xmlns:a16="http://schemas.microsoft.com/office/drawing/2014/main" id="{10F64FE7-03CD-840D-B302-1AB1E7CFC39B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9" y="5286375"/>
            <a:ext cx="16033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61913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666BDC-485B-4EE9-B076-4E3E00D83542}" type="datetime'''''''''''''''''''''''''''1''''''7'''''' ''''''''%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B4A3BAEF-8AB9-2F60-AFC7-D288FB27C085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6875463" y="5286375"/>
            <a:ext cx="17335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9AE9F1-203E-4B8E-A234-5AA07B84E134}" type="datetime'''''''''''''18'''''' ''''%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2" name="Text Placeholder">
            <a:extLst>
              <a:ext uri="{FF2B5EF4-FFF2-40B4-BE49-F238E27FC236}">
                <a16:creationId xmlns:a16="http://schemas.microsoft.com/office/drawing/2014/main" id="{EB8F9496-2222-0706-573F-451DA8340F3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8609013" y="5286375"/>
            <a:ext cx="160178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4445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321F8E3-F541-49D9-8E40-AB8147DEA879}" type="datetime'''''''''''''14'''''''''''''' %''''''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3" name="Text Placeholder">
            <a:extLst>
              <a:ext uri="{FF2B5EF4-FFF2-40B4-BE49-F238E27FC236}">
                <a16:creationId xmlns:a16="http://schemas.microsoft.com/office/drawing/2014/main" id="{81B865E5-321A-B063-0C82-E7BCE1BF5782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10210799" y="5286375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512B8D4-50B8-441C-8256-2A3260DB3564}" type="datetime'''''4'''' ''''''''''''''''''''''''''''%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6" name="Text Placeholder">
            <a:extLst>
              <a:ext uri="{FF2B5EF4-FFF2-40B4-BE49-F238E27FC236}">
                <a16:creationId xmlns:a16="http://schemas.microsoft.com/office/drawing/2014/main" id="{7DA82B79-24FF-01FD-1506-7EAD33D4D355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979613" y="5621338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C744D5-F965-4877-9DBF-385295CCD8C0}" type="datetime'''''''''''''''''''''''''''''1''0''''''''''''''''0 %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7" name="Text Placeholder">
            <a:extLst>
              <a:ext uri="{FF2B5EF4-FFF2-40B4-BE49-F238E27FC236}">
                <a16:creationId xmlns:a16="http://schemas.microsoft.com/office/drawing/2014/main" id="{CEA12F5A-6857-5137-ABDC-FF7CA9A472CB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625849" y="5621338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585BB7-7A6C-466F-BBDA-51F9838D4C9C}" type="datetime'''''''''''''4''1'''''''''''''' ''''''''''''''''''''''''%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1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8" name="Text Placeholder">
            <a:extLst>
              <a:ext uri="{FF2B5EF4-FFF2-40B4-BE49-F238E27FC236}">
                <a16:creationId xmlns:a16="http://schemas.microsoft.com/office/drawing/2014/main" id="{37B728A1-10D6-4A85-FA67-6D146E2C6986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272089" y="5621338"/>
            <a:ext cx="1603375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41275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7671338-F2AF-4338-B2A5-6791FB2A39BF}" type="datetime'1''''5'''''''''''''''''''''''' ''''''%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9" name="Text Placeholder">
            <a:extLst>
              <a:ext uri="{FF2B5EF4-FFF2-40B4-BE49-F238E27FC236}">
                <a16:creationId xmlns:a16="http://schemas.microsoft.com/office/drawing/2014/main" id="{EDF47804-6309-4794-080A-4692914FC555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6875463" y="5621338"/>
            <a:ext cx="17335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BFB6B77-C0FB-44AD-8AF7-83625470CF15}" type="datetime'''''2''''''''''''''''''''''2'''''''''''' ''''''%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70" name="Text Placeholder">
            <a:extLst>
              <a:ext uri="{FF2B5EF4-FFF2-40B4-BE49-F238E27FC236}">
                <a16:creationId xmlns:a16="http://schemas.microsoft.com/office/drawing/2014/main" id="{708A28F2-B1DF-D189-1CA1-7D5C75614882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8609013" y="5621338"/>
            <a:ext cx="160178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4445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43CBDA-263D-4C1E-9791-D4ACE5E24487}" type="datetime'''''''''''1''''''''0'' ''''''''''''''''''''''%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71" name="Text Placeholder">
            <a:extLst>
              <a:ext uri="{FF2B5EF4-FFF2-40B4-BE49-F238E27FC236}">
                <a16:creationId xmlns:a16="http://schemas.microsoft.com/office/drawing/2014/main" id="{013BDC46-0950-879F-8391-11FF892C80C6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10210799" y="5621338"/>
            <a:ext cx="1646238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F91237F-D36B-46F7-B768-1F1DCAF1D786}" type="datetime'1''''''2'''''''''' ''''''''%''''''''''''''''''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5" name="btfpNotesBox885677">
            <a:extLst>
              <a:ext uri="{FF2B5EF4-FFF2-40B4-BE49-F238E27FC236}">
                <a16:creationId xmlns:a16="http://schemas.microsoft.com/office/drawing/2014/main" id="{6ABB714A-4915-0CEB-9E01-6036E9A91FB3}"/>
              </a:ext>
            </a:extLst>
          </p:cNvPr>
          <p:cNvSpPr txBox="1"/>
          <p:nvPr>
            <p:custDataLst>
              <p:tags r:id="rId3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GB" sz="800" dirty="0">
                <a:solidFill>
                  <a:srgbClr val="000000"/>
                </a:solidFill>
              </a:rPr>
              <a:t>Financed emissions and invested capital of PortCos present in different funds aggregated</a:t>
            </a:r>
            <a:r>
              <a:rPr lang="en-US" sz="800" dirty="0">
                <a:solidFill>
                  <a:srgbClr val="000000"/>
                </a:solidFill>
              </a:rPr>
              <a:t>  </a:t>
            </a:r>
          </a:p>
        </p:txBody>
      </p:sp>
      <p:sp>
        <p:nvSpPr>
          <p:cNvPr id="6" name="btfpBulletedList571427">
            <a:extLst>
              <a:ext uri="{FF2B5EF4-FFF2-40B4-BE49-F238E27FC236}">
                <a16:creationId xmlns:a16="http://schemas.microsoft.com/office/drawing/2014/main" id="{49467805-D1DD-C46D-4C86-3C3B9ADC0715}"/>
              </a:ext>
            </a:extLst>
          </p:cNvPr>
          <p:cNvSpPr/>
          <p:nvPr/>
        </p:nvSpPr>
        <p:spPr bwMode="gray">
          <a:xfrm>
            <a:off x="8954100" y="0"/>
            <a:ext cx="3237900" cy="153406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5103342-2EAE-5B2D-6430-A825757BF960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034330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84436639-65A9-084A-365D-DAD091841B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0433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84" imgH="486" progId="TCLayout.ActiveDocument.1">
                  <p:embed/>
                </p:oleObj>
              </mc:Choice>
              <mc:Fallback>
                <p:oleObj name="think-cell Slide" r:id="rId49" imgW="484" imgH="486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4436639-65A9-084A-365D-DAD091841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1" name="btfpColumnIndicatorGroup2">
            <a:extLst>
              <a:ext uri="{FF2B5EF4-FFF2-40B4-BE49-F238E27FC236}">
                <a16:creationId xmlns:a16="http://schemas.microsoft.com/office/drawing/2014/main" id="{21CB3FC9-D311-67E1-CC08-553157094406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89" name="btfpColumnGapBlocker894193">
              <a:extLst>
                <a:ext uri="{FF2B5EF4-FFF2-40B4-BE49-F238E27FC236}">
                  <a16:creationId xmlns:a16="http://schemas.microsoft.com/office/drawing/2014/main" id="{B42B4FD5-C7B7-1B3E-BCA0-2345E410DFCD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7" name="btfpColumnGapBlocker902874">
              <a:extLst>
                <a:ext uri="{FF2B5EF4-FFF2-40B4-BE49-F238E27FC236}">
                  <a16:creationId xmlns:a16="http://schemas.microsoft.com/office/drawing/2014/main" id="{F05A0654-A439-9222-859D-5B6C743D33E7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5" name="btfpColumnIndicator753711">
              <a:extLst>
                <a:ext uri="{FF2B5EF4-FFF2-40B4-BE49-F238E27FC236}">
                  <a16:creationId xmlns:a16="http://schemas.microsoft.com/office/drawing/2014/main" id="{38AE9F45-DC42-D542-B6C8-ECA0D3FBE5E9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btfpColumnIndicator189368">
              <a:extLst>
                <a:ext uri="{FF2B5EF4-FFF2-40B4-BE49-F238E27FC236}">
                  <a16:creationId xmlns:a16="http://schemas.microsoft.com/office/drawing/2014/main" id="{07CD870F-59F4-4595-9E7C-6E1FB37E3121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0" name="btfpColumnIndicatorGroup1">
            <a:extLst>
              <a:ext uri="{FF2B5EF4-FFF2-40B4-BE49-F238E27FC236}">
                <a16:creationId xmlns:a16="http://schemas.microsoft.com/office/drawing/2014/main" id="{9DA6D20A-B5A4-C816-AFD9-DDD91724C4FC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8" name="btfpColumnGapBlocker677403">
              <a:extLst>
                <a:ext uri="{FF2B5EF4-FFF2-40B4-BE49-F238E27FC236}">
                  <a16:creationId xmlns:a16="http://schemas.microsoft.com/office/drawing/2014/main" id="{AD5FAA07-D24B-08AB-D18B-643110C61C9A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6" name="btfpColumnGapBlocker663733">
              <a:extLst>
                <a:ext uri="{FF2B5EF4-FFF2-40B4-BE49-F238E27FC236}">
                  <a16:creationId xmlns:a16="http://schemas.microsoft.com/office/drawing/2014/main" id="{B7D87FBA-D77D-F829-87F5-31EDED803A2B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4" name="btfpColumnIndicator124033">
              <a:extLst>
                <a:ext uri="{FF2B5EF4-FFF2-40B4-BE49-F238E27FC236}">
                  <a16:creationId xmlns:a16="http://schemas.microsoft.com/office/drawing/2014/main" id="{943BA600-2C9D-78E5-80B1-0CB7B3F390E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btfpColumnIndicator418915">
              <a:extLst>
                <a:ext uri="{FF2B5EF4-FFF2-40B4-BE49-F238E27FC236}">
                  <a16:creationId xmlns:a16="http://schemas.microsoft.com/office/drawing/2014/main" id="{ABE7BB6D-0C0F-86F0-67BF-CC77D9B63910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90F85098-78A2-F419-E8FA-CDED760BB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pPr>
              <a:tabLst>
                <a:tab pos="3048000" algn="l"/>
              </a:tabLst>
            </a:pPr>
            <a:r>
              <a:rPr lang="en-GB" dirty="0"/>
              <a:t>Portfolio progress since acquisition by PortCos</a:t>
            </a:r>
          </a:p>
        </p:txBody>
      </p:sp>
      <p:grpSp>
        <p:nvGrpSpPr>
          <p:cNvPr id="18" name="btfpStatusSticker352542">
            <a:extLst>
              <a:ext uri="{FF2B5EF4-FFF2-40B4-BE49-F238E27FC236}">
                <a16:creationId xmlns:a16="http://schemas.microsoft.com/office/drawing/2014/main" id="{E700A1BA-61FA-F266-5F01-1316FB2CB8F7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19" name="btfpStatusStickerText352542">
              <a:extLst>
                <a:ext uri="{FF2B5EF4-FFF2-40B4-BE49-F238E27FC236}">
                  <a16:creationId xmlns:a16="http://schemas.microsoft.com/office/drawing/2014/main" id="{405A3EDC-7616-51E1-5750-9B16DAD19B1C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20" name="btfpStatusStickerLine352542">
              <a:extLst>
                <a:ext uri="{FF2B5EF4-FFF2-40B4-BE49-F238E27FC236}">
                  <a16:creationId xmlns:a16="http://schemas.microsoft.com/office/drawing/2014/main" id="{9996C917-3686-8604-2C71-944B194C6631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0E6473D-A4A2-B52E-B099-3FDBC603035C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73363941"/>
              </p:ext>
            </p:extLst>
          </p:nvPr>
        </p:nvGraphicFramePr>
        <p:xfrm>
          <a:off x="2181225" y="1398588"/>
          <a:ext cx="9753600" cy="37163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1"/>
          </a:graphicData>
        </a:graphic>
      </p:graphicFrame>
      <p:sp>
        <p:nvSpPr>
          <p:cNvPr id="22" name="Text Placeholder">
            <a:extLst>
              <a:ext uri="{FF2B5EF4-FFF2-40B4-BE49-F238E27FC236}">
                <a16:creationId xmlns:a16="http://schemas.microsoft.com/office/drawing/2014/main" id="{3F696060-7941-A890-FDE8-DC1C145A780B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078038" y="47577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170479F-D6FE-4D1B-A2F5-F76BBCF407E1}" type="datetime'''0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2" name="Text Placeholder">
            <a:extLst>
              <a:ext uri="{FF2B5EF4-FFF2-40B4-BE49-F238E27FC236}">
                <a16:creationId xmlns:a16="http://schemas.microsoft.com/office/drawing/2014/main" id="{C1B9B8D7-5EE5-6636-B0C6-92B5798A1BB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993900" y="36972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4BCFF6D-A155-41EE-8707-F0B77A04BAF3}" type="datetime'1''''''''''''''''''''''''''0'''''''''''''''''''''">
              <a:rPr lang="en-US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3" name="Text Placeholder">
            <a:extLst>
              <a:ext uri="{FF2B5EF4-FFF2-40B4-BE49-F238E27FC236}">
                <a16:creationId xmlns:a16="http://schemas.microsoft.com/office/drawing/2014/main" id="{15AB4D7D-8371-C9E6-14F0-12071EFDCE07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993900" y="26352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81004DF5-12F3-4176-BCB1-563AC1C6841A}" type="datetime'''''''''''''''''''''''''''''''''''''''''2''''''''''''''0'''">
              <a:rPr lang="en-US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US" sz="1200" dirty="0">
              <a:solidFill>
                <a:srgbClr val="000000"/>
              </a:solidFill>
            </a:endParaRPr>
          </a:p>
        </p:txBody>
      </p:sp>
      <p:sp>
        <p:nvSpPr>
          <p:cNvPr id="164" name="Text Placeholder">
            <a:extLst>
              <a:ext uri="{FF2B5EF4-FFF2-40B4-BE49-F238E27FC236}">
                <a16:creationId xmlns:a16="http://schemas.microsoft.com/office/drawing/2014/main" id="{16651FC8-BAD6-A37C-3912-16781597E61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993900" y="15748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113C714-4218-4C68-A565-2DEF4452B4AD}" type="datetime'''''''''''''''''''''''''3''''''''''''''''''''''0'">
              <a:rPr lang="en-US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111CC291-3517-D8AA-2EBD-9F5FCC755F1C}"/>
              </a:ext>
            </a:extLst>
          </p:cNvPr>
          <p:cNvCxnSpPr/>
          <p:nvPr>
            <p:custDataLst>
              <p:tags r:id="rId9"/>
            </p:custDataLst>
          </p:nvPr>
        </p:nvCxnSpPr>
        <p:spPr bwMode="gray">
          <a:xfrm flipH="1">
            <a:off x="3430588" y="4730749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26" name="Straight Connector 225">
            <a:extLst>
              <a:ext uri="{FF2B5EF4-FFF2-40B4-BE49-F238E27FC236}">
                <a16:creationId xmlns:a16="http://schemas.microsoft.com/office/drawing/2014/main" id="{F8483EA8-21AE-C2C4-0A16-275871907A86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 flipH="1" flipV="1">
            <a:off x="3430588" y="1824038"/>
            <a:ext cx="95250" cy="1143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18C11528-5CC1-0D8D-C308-784773641AAD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 flipV="1">
            <a:off x="3430588" y="1717674"/>
            <a:ext cx="95250" cy="38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67A54D8E-2E77-C1DE-0BF2-80D25F32BF75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 flipV="1">
            <a:off x="8224838" y="4370387"/>
            <a:ext cx="95250" cy="38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D1A4D326-18F3-3EEA-E63B-DEA31F057BBF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8224838" y="4225924"/>
            <a:ext cx="95250" cy="38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934C8ACD-6924-1442-3060-6087B59820F9}"/>
              </a:ext>
            </a:extLst>
          </p:cNvPr>
          <p:cNvCxnSpPr/>
          <p:nvPr>
            <p:custDataLst>
              <p:tags r:id="rId14"/>
            </p:custDataLst>
          </p:nvPr>
        </p:nvCxnSpPr>
        <p:spPr bwMode="gray">
          <a:xfrm flipH="1">
            <a:off x="9821863" y="4730749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E2D771FC-13F6-3E1E-C964-8BD07190403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 flipV="1">
            <a:off x="9821863" y="4475162"/>
            <a:ext cx="95250" cy="396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3557771C-AFFF-AE6C-7726-051426DD82A7}"/>
              </a:ext>
            </a:extLst>
          </p:cNvPr>
          <p:cNvCxnSpPr/>
          <p:nvPr>
            <p:custDataLst>
              <p:tags r:id="rId16"/>
            </p:custDataLst>
          </p:nvPr>
        </p:nvCxnSpPr>
        <p:spPr bwMode="gray">
          <a:xfrm flipH="1">
            <a:off x="9821863" y="4332287"/>
            <a:ext cx="95250" cy="381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D67A74C-D864-0295-BD95-8B32C75B9245}"/>
              </a:ext>
            </a:extLst>
          </p:cNvPr>
          <p:cNvCxnSpPr/>
          <p:nvPr>
            <p:custDataLst>
              <p:tags r:id="rId17"/>
            </p:custDataLst>
          </p:nvPr>
        </p:nvCxnSpPr>
        <p:spPr bwMode="gray">
          <a:xfrm flipH="1">
            <a:off x="11420475" y="4730749"/>
            <a:ext cx="95250" cy="635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6CC2B392-D3D6-9FD3-DBC1-61A38AB4F9D5}"/>
              </a:ext>
            </a:extLst>
          </p:cNvPr>
          <p:cNvCxnSpPr/>
          <p:nvPr>
            <p:custDataLst>
              <p:tags r:id="rId18"/>
            </p:custDataLst>
          </p:nvPr>
        </p:nvCxnSpPr>
        <p:spPr bwMode="gray">
          <a:xfrm flipH="1">
            <a:off x="11420475" y="4548188"/>
            <a:ext cx="95250" cy="13970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5349F69C-D3B5-5BBD-4147-A525F869FA2D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1993900" y="1270000"/>
            <a:ext cx="43354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by progress since acquisition, as of 2023 (# of PortCos)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2841C9F2-932E-ADFA-2FB2-8085E04C236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2955925" y="14573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AE8918-1FC1-41F8-9EF8-6B44AF2BEA99}" type="datetime'''''3''0''''''''''''''''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1" name="Text Placeholder">
            <a:extLst>
              <a:ext uri="{FF2B5EF4-FFF2-40B4-BE49-F238E27FC236}">
                <a16:creationId xmlns:a16="http://schemas.microsoft.com/office/drawing/2014/main" id="{15EE0CF6-1499-4357-0FF2-252D0D03F27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552950" y="3367088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8F15346-20B7-4FE5-96DF-4B458CCA8D10}" type="datetime'''''''''1''''2''''''''''''''''''''''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759BBE95-9E6D-7D2E-FC3A-05C366399C14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194425" y="4110038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749507-84F2-48A9-811A-2D6E8DEA21A1}" type="datetime'''''''''''''''''''''''''5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27BB3325-69FC-31DE-41C1-3F457DBC6F1E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7793038" y="4003675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AAD3B44-4B96-40BE-B891-EA4F9C112B15}" type="datetime'''''''''''''''''''''''''''''''''''''''''''''''''''6''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DE5A2382-9EAD-1AE9-BA20-D397ED863BFC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9390063" y="4110038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F3DDDE-A803-4173-9C9F-C3E1CA2FE832}" type="datetime'''''''''''''''''''''''''''''''''''''''''''5''''''''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D6756088-DABE-214C-AED2-D4D9E99E1F76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10988675" y="4427538"/>
            <a:ext cx="128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FD8752F-893C-4B0B-AF1D-54DCCDC4E20C}" type="datetime'''''''''''''2'''''''''''''''''">
              <a:rPr lang="en-US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49F0A07B-CBD7-3BC8-6F4C-18D337B0C8C0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2263775" y="4940300"/>
            <a:ext cx="159702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0" bIns="1270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8D57FF-736D-4BB9-B02E-161EB9E1F567}" type="datetime'''''T''''''o''''''''''''''t''a''''''l'''''''''''''''''''''''''">
              <a:rPr lang="en-GB" altLang="en-US" sz="1200" smtClean="0">
                <a:solidFill>
                  <a:srgbClr val="000000"/>
                </a:solidFill>
              </a:rPr>
              <a:pPr/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04FBA6C6-990C-781E-FB33-403ABFCF5E72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5459413" y="4940300"/>
            <a:ext cx="1530350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9850" tIns="60325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7ABB3A-C7DB-4FFD-9E42-2A4AF8113FA3}" type="datetime'C''a''pt''u''''''ri''''''''ng'' ''''''Da''''t''''''''''a'''">
              <a:rPr lang="en-GB" altLang="en-US" sz="1200" smtClean="0">
                <a:solidFill>
                  <a:srgbClr val="000000"/>
                </a:solidFill>
              </a:rPr>
              <a:pPr/>
              <a:t>Capturing Data</a:t>
            </a:fld>
            <a:br>
              <a:rPr lang="en-GB" altLang="en-US" sz="1200" dirty="0">
                <a:solidFill>
                  <a:srgbClr val="000000"/>
                </a:solidFill>
              </a:rPr>
            </a:br>
            <a:r>
              <a:rPr lang="en-GB" altLang="en-US" sz="1200" dirty="0">
                <a:solidFill>
                  <a:srgbClr val="000000"/>
                </a:solidFill>
              </a:rPr>
              <a:t>(min. Scope 1&amp;2)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03BDB576-AC79-A473-33F0-F8A6B61C90C9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6989763" y="4940300"/>
            <a:ext cx="1733550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6A2985-F897-4D5C-8A3B-56A53D68C452}" type="datetime'''''''''P''rep''''arin''g'' to ''''D''''eca''r''''''boni''se'">
              <a:rPr lang="en-GB" altLang="en-US" sz="1200" smtClean="0">
                <a:solidFill>
                  <a:srgbClr val="000000"/>
                </a:solidFill>
              </a:rPr>
              <a:pPr/>
              <a:t>Preparing to Decarbonise</a:t>
            </a:fld>
            <a:br>
              <a:rPr lang="en-GB" altLang="en-US" sz="1200" dirty="0">
                <a:solidFill>
                  <a:srgbClr val="000000"/>
                </a:solidFill>
              </a:rPr>
            </a:br>
            <a:r>
              <a:rPr lang="en-GB" altLang="en-US" sz="1200" dirty="0">
                <a:solidFill>
                  <a:srgbClr val="000000"/>
                </a:solidFill>
              </a:rPr>
              <a:t>(min. Scope 1&amp;2)</a:t>
            </a:r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14625AC3-0403-D2F9-1383-B01F8C1E0A4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860800" y="4940300"/>
            <a:ext cx="1598613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0" bIns="1270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60DE72-4444-408B-B5DE-6B76A16D41B1}" type="datetime'No''''''t'' ''S''''t''''''''''''art''e''''''''''''''d'''''">
              <a:rPr lang="en-GB" altLang="en-US" sz="1200" smtClean="0">
                <a:solidFill>
                  <a:srgbClr val="000000"/>
                </a:solidFill>
              </a:rPr>
              <a:pPr/>
              <a:t>Not Started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FE8EC26B-EDD9-7AC0-920E-BA2F6B3C1A6D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723312" y="4940300"/>
            <a:ext cx="1530350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68263" bIns="1270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C3005B-FE28-4312-AF6F-A99BD82DD9E6}" type="datetime'''''''''''''''Al''''''''''ig''''ni''''''''''ng'''''''''">
              <a:rPr lang="en-GB" altLang="en-US" sz="1200" smtClean="0">
                <a:solidFill>
                  <a:srgbClr val="000000"/>
                </a:solidFill>
              </a:rPr>
              <a:pPr/>
              <a:t>Aligning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783312DD-6997-027C-F96B-364799D46E02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10253663" y="4940300"/>
            <a:ext cx="1598613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52400" rIns="0" bIns="12700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ACCBBB-2B6B-431D-B573-8A8F80CC7150}" type="datetime'''''''''''A''''''l''''''i''''g''''''''ned'''''''''''">
              <a:rPr lang="en-GB" altLang="en-US" sz="1200" smtClean="0">
                <a:solidFill>
                  <a:srgbClr val="000000"/>
                </a:solidFill>
              </a:rPr>
              <a:pPr/>
              <a:t>Aligned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73" name="Group 72">
            <a:extLst>
              <a:ext uri="{FF2B5EF4-FFF2-40B4-BE49-F238E27FC236}">
                <a16:creationId xmlns:a16="http://schemas.microsoft.com/office/drawing/2014/main" id="{8C4BCFD1-933A-AF09-2D20-E8CA606E7558}"/>
              </a:ext>
            </a:extLst>
          </p:cNvPr>
          <p:cNvGrpSpPr/>
          <p:nvPr/>
        </p:nvGrpSpPr>
        <p:grpSpPr>
          <a:xfrm>
            <a:off x="2089804" y="5930465"/>
            <a:ext cx="9771997" cy="383934"/>
            <a:chOff x="2089804" y="6113337"/>
            <a:chExt cx="9771997" cy="383934"/>
          </a:xfrm>
        </p:grpSpPr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9BFF34EF-0FF4-90B5-51F3-6ABE4E3D913E}"/>
                </a:ext>
              </a:extLst>
            </p:cNvPr>
            <p:cNvSpPr/>
            <p:nvPr/>
          </p:nvSpPr>
          <p:spPr bwMode="gray">
            <a:xfrm>
              <a:off x="2368556" y="6113337"/>
              <a:ext cx="9493244" cy="383934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000" dirty="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50732A3A-8B18-B305-109D-74804745DE23}"/>
                </a:ext>
              </a:extLst>
            </p:cNvPr>
            <p:cNvGrpSpPr/>
            <p:nvPr/>
          </p:nvGrpSpPr>
          <p:grpSpPr>
            <a:xfrm>
              <a:off x="4360138" y="6116791"/>
              <a:ext cx="1412896" cy="380480"/>
              <a:chOff x="4057338" y="5987907"/>
              <a:chExt cx="1412896" cy="380480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8F575F8E-E549-B6BB-F613-A81F42112AF1}"/>
                  </a:ext>
                </a:extLst>
              </p:cNvPr>
              <p:cNvSpPr/>
              <p:nvPr/>
            </p:nvSpPr>
            <p:spPr bwMode="gray">
              <a:xfrm>
                <a:off x="4057338" y="6115041"/>
                <a:ext cx="194734" cy="126212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BA255B8E-6EBA-2529-147E-AA74DAA5A525}"/>
                  </a:ext>
                </a:extLst>
              </p:cNvPr>
              <p:cNvSpPr txBox="1"/>
              <p:nvPr/>
            </p:nvSpPr>
            <p:spPr bwMode="gray">
              <a:xfrm>
                <a:off x="4276411" y="5987907"/>
                <a:ext cx="1193823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Unchanged since acquisition</a:t>
                </a: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0413E91E-862E-E848-9674-FEEB7034E90D}"/>
                </a:ext>
              </a:extLst>
            </p:cNvPr>
            <p:cNvGrpSpPr/>
            <p:nvPr/>
          </p:nvGrpSpPr>
          <p:grpSpPr>
            <a:xfrm>
              <a:off x="2781301" y="6116791"/>
              <a:ext cx="1534046" cy="380480"/>
              <a:chOff x="2473257" y="5987907"/>
              <a:chExt cx="1534046" cy="380480"/>
            </a:xfrm>
          </p:grpSpPr>
          <p:sp>
            <p:nvSpPr>
              <p:cNvPr id="49" name="Rectangle 48">
                <a:extLst>
                  <a:ext uri="{FF2B5EF4-FFF2-40B4-BE49-F238E27FC236}">
                    <a16:creationId xmlns:a16="http://schemas.microsoft.com/office/drawing/2014/main" id="{DC96F061-51C9-F005-2EC5-AC2E2A8D7B03}"/>
                  </a:ext>
                </a:extLst>
              </p:cNvPr>
              <p:cNvSpPr/>
              <p:nvPr/>
            </p:nvSpPr>
            <p:spPr bwMode="gray">
              <a:xfrm>
                <a:off x="2473257" y="6115041"/>
                <a:ext cx="194734" cy="126212"/>
              </a:xfrm>
              <a:prstGeom prst="rect">
                <a:avLst/>
              </a:prstGeom>
              <a:solidFill>
                <a:schemeClr val="accent3">
                  <a:lumMod val="20000"/>
                  <a:lumOff val="80000"/>
                </a:schemeClr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973F145E-59D2-E9B8-98DA-A62A2267BB60}"/>
                  </a:ext>
                </a:extLst>
              </p:cNvPr>
              <p:cNvSpPr txBox="1"/>
              <p:nvPr/>
            </p:nvSpPr>
            <p:spPr bwMode="gray">
              <a:xfrm>
                <a:off x="2681537" y="5987907"/>
                <a:ext cx="1325766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Regressed &gt;0 stages since acq.</a:t>
                </a:r>
              </a:p>
            </p:txBody>
          </p:sp>
        </p:grp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id="{90D0A9A4-9576-2D3A-E95F-6126CABAC0F2}"/>
                </a:ext>
              </a:extLst>
            </p:cNvPr>
            <p:cNvGrpSpPr/>
            <p:nvPr/>
          </p:nvGrpSpPr>
          <p:grpSpPr>
            <a:xfrm>
              <a:off x="10384400" y="6116791"/>
              <a:ext cx="1477401" cy="380480"/>
              <a:chOff x="9925642" y="5987907"/>
              <a:chExt cx="1477401" cy="380480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6D1AD554-332F-C9C1-739C-02E56737500B}"/>
                  </a:ext>
                </a:extLst>
              </p:cNvPr>
              <p:cNvSpPr/>
              <p:nvPr/>
            </p:nvSpPr>
            <p:spPr bwMode="gray">
              <a:xfrm>
                <a:off x="9925642" y="6115041"/>
                <a:ext cx="194734" cy="126212"/>
              </a:xfrm>
              <a:prstGeom prst="rect">
                <a:avLst/>
              </a:prstGeom>
              <a:solidFill>
                <a:srgbClr val="104C3E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1" name="TextBox 60">
                <a:extLst>
                  <a:ext uri="{FF2B5EF4-FFF2-40B4-BE49-F238E27FC236}">
                    <a16:creationId xmlns:a16="http://schemas.microsoft.com/office/drawing/2014/main" id="{DB39484E-3193-32F6-E19B-B9C9AAE75EA6}"/>
                  </a:ext>
                </a:extLst>
              </p:cNvPr>
              <p:cNvSpPr txBox="1"/>
              <p:nvPr/>
            </p:nvSpPr>
            <p:spPr bwMode="gray">
              <a:xfrm>
                <a:off x="10155428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4</a:t>
                </a:r>
                <a:r>
                  <a:rPr lang="en-GB" sz="1000" dirty="0">
                    <a:latin typeface="+mj-lt"/>
                  </a:rPr>
                  <a:t> stages since acq.</a:t>
                </a:r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70FB949-8B8E-18A7-9586-55B53B92619F}"/>
                </a:ext>
              </a:extLst>
            </p:cNvPr>
            <p:cNvGrpSpPr/>
            <p:nvPr/>
          </p:nvGrpSpPr>
          <p:grpSpPr>
            <a:xfrm>
              <a:off x="8862209" y="6116791"/>
              <a:ext cx="1477401" cy="380480"/>
              <a:chOff x="8432239" y="5987907"/>
              <a:chExt cx="1477401" cy="380480"/>
            </a:xfrm>
          </p:grpSpPr>
          <p:sp>
            <p:nvSpPr>
              <p:cNvPr id="63" name="Rectangle 62">
                <a:extLst>
                  <a:ext uri="{FF2B5EF4-FFF2-40B4-BE49-F238E27FC236}">
                    <a16:creationId xmlns:a16="http://schemas.microsoft.com/office/drawing/2014/main" id="{E086F264-0703-EED9-36A0-4B267C59FD42}"/>
                  </a:ext>
                </a:extLst>
              </p:cNvPr>
              <p:cNvSpPr/>
              <p:nvPr/>
            </p:nvSpPr>
            <p:spPr bwMode="gray">
              <a:xfrm>
                <a:off x="8432239" y="6115041"/>
                <a:ext cx="194734" cy="126212"/>
              </a:xfrm>
              <a:prstGeom prst="rect">
                <a:avLst/>
              </a:prstGeom>
              <a:solidFill>
                <a:srgbClr val="507867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A50AC5D8-FDD6-B359-2EC0-1EDEB1B6C716}"/>
                  </a:ext>
                </a:extLst>
              </p:cNvPr>
              <p:cNvSpPr txBox="1"/>
              <p:nvPr/>
            </p:nvSpPr>
            <p:spPr bwMode="gray">
              <a:xfrm>
                <a:off x="8662025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3 </a:t>
                </a:r>
                <a:r>
                  <a:rPr lang="en-GB" sz="1000" dirty="0">
                    <a:latin typeface="+mj-lt"/>
                  </a:rPr>
                  <a:t>stages since acq.</a:t>
                </a:r>
              </a:p>
            </p:txBody>
          </p:sp>
        </p:grpSp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5A28C310-FBD3-5196-D1FF-ED0A7CEB8B5A}"/>
                </a:ext>
              </a:extLst>
            </p:cNvPr>
            <p:cNvGrpSpPr/>
            <p:nvPr/>
          </p:nvGrpSpPr>
          <p:grpSpPr>
            <a:xfrm>
              <a:off x="7340017" y="6116791"/>
              <a:ext cx="1477401" cy="380480"/>
              <a:chOff x="6942973" y="5987907"/>
              <a:chExt cx="1477401" cy="380480"/>
            </a:xfrm>
          </p:grpSpPr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id="{5958B9E1-A477-4CC2-70A4-B1F9A5F7E547}"/>
                  </a:ext>
                </a:extLst>
              </p:cNvPr>
              <p:cNvSpPr/>
              <p:nvPr/>
            </p:nvSpPr>
            <p:spPr bwMode="gray">
              <a:xfrm>
                <a:off x="6942973" y="6115041"/>
                <a:ext cx="194734" cy="126212"/>
              </a:xfrm>
              <a:prstGeom prst="rect">
                <a:avLst/>
              </a:prstGeom>
              <a:solidFill>
                <a:srgbClr val="83AC9A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FFFFFF"/>
                  </a:solidFill>
                  <a:latin typeface="+mj-lt"/>
                </a:endParaRPr>
              </a:p>
            </p:txBody>
          </p:sp>
          <p:sp>
            <p:nvSpPr>
              <p:cNvPr id="67" name="TextBox 66">
                <a:extLst>
                  <a:ext uri="{FF2B5EF4-FFF2-40B4-BE49-F238E27FC236}">
                    <a16:creationId xmlns:a16="http://schemas.microsoft.com/office/drawing/2014/main" id="{A9842669-30A4-E943-5B8F-0A0AC570DC3F}"/>
                  </a:ext>
                </a:extLst>
              </p:cNvPr>
              <p:cNvSpPr txBox="1"/>
              <p:nvPr/>
            </p:nvSpPr>
            <p:spPr bwMode="gray">
              <a:xfrm>
                <a:off x="7172759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2 </a:t>
                </a:r>
                <a:r>
                  <a:rPr lang="en-GB" sz="1000" dirty="0">
                    <a:latin typeface="+mj-lt"/>
                  </a:rPr>
                  <a:t>stages since acq.</a:t>
                </a:r>
              </a:p>
            </p:txBody>
          </p:sp>
        </p:grpSp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BBD96079-9C8D-4A11-0A44-965378983898}"/>
                </a:ext>
              </a:extLst>
            </p:cNvPr>
            <p:cNvGrpSpPr/>
            <p:nvPr/>
          </p:nvGrpSpPr>
          <p:grpSpPr>
            <a:xfrm>
              <a:off x="5817825" y="6116791"/>
              <a:ext cx="1477401" cy="380480"/>
              <a:chOff x="5430407" y="5987907"/>
              <a:chExt cx="1477401" cy="380480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559DB1C3-F9C1-3F75-ACE2-6F6118029647}"/>
                  </a:ext>
                </a:extLst>
              </p:cNvPr>
              <p:cNvSpPr/>
              <p:nvPr/>
            </p:nvSpPr>
            <p:spPr bwMode="gray">
              <a:xfrm>
                <a:off x="5430407" y="6115041"/>
                <a:ext cx="194734" cy="126212"/>
              </a:xfrm>
              <a:prstGeom prst="rect">
                <a:avLst/>
              </a:prstGeom>
              <a:solidFill>
                <a:srgbClr val="DCE2D6"/>
              </a:solidFill>
              <a:ln w="952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buNone/>
                </a:pPr>
                <a:endParaRPr lang="en-GB" sz="1000" dirty="0">
                  <a:solidFill>
                    <a:srgbClr val="000000"/>
                  </a:solidFill>
                  <a:latin typeface="+mj-lt"/>
                </a:endParaRPr>
              </a:p>
            </p:txBody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EB75593E-4DE6-D338-6417-9E98FF1DE4E6}"/>
                  </a:ext>
                </a:extLst>
              </p:cNvPr>
              <p:cNvSpPr txBox="1"/>
              <p:nvPr/>
            </p:nvSpPr>
            <p:spPr bwMode="gray">
              <a:xfrm>
                <a:off x="5660193" y="5987907"/>
                <a:ext cx="1247615" cy="380480"/>
              </a:xfrm>
              <a:prstGeom prst="rect">
                <a:avLst/>
              </a:prstGeom>
              <a:noFill/>
            </p:spPr>
            <p:txBody>
              <a:bodyPr wrap="square" lIns="36000" tIns="36000" rIns="36000" bIns="36000" rtlCol="0">
                <a:spAutoFit/>
              </a:bodyPr>
              <a:lstStyle/>
              <a:p>
                <a:pPr marL="0" indent="0">
                  <a:buNone/>
                </a:pPr>
                <a:r>
                  <a:rPr lang="en-GB" sz="1000" dirty="0">
                    <a:latin typeface="+mj-lt"/>
                  </a:rPr>
                  <a:t>Progressed </a:t>
                </a:r>
                <a:r>
                  <a:rPr lang="en-US" sz="1000" dirty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≤1</a:t>
                </a:r>
                <a:r>
                  <a:rPr lang="en-GB" sz="1000" dirty="0">
                    <a:latin typeface="+mj-lt"/>
                  </a:rPr>
                  <a:t> stage since acq.</a:t>
                </a:r>
              </a:p>
            </p:txBody>
          </p:sp>
        </p:grp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2A347DC-536D-B5B1-4BBE-3D90E1F31BC1}"/>
                </a:ext>
              </a:extLst>
            </p:cNvPr>
            <p:cNvSpPr txBox="1"/>
            <p:nvPr/>
          </p:nvSpPr>
          <p:spPr bwMode="gray">
            <a:xfrm>
              <a:off x="2089804" y="6188555"/>
              <a:ext cx="572030" cy="233498"/>
            </a:xfrm>
            <a:prstGeom prst="rect">
              <a:avLst/>
            </a:prstGeom>
            <a:solidFill>
              <a:srgbClr val="FFFFFF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indent="0">
                <a:buNone/>
              </a:pPr>
              <a:r>
                <a:rPr lang="en-GB" sz="1000" b="1" dirty="0">
                  <a:solidFill>
                    <a:srgbClr val="000000"/>
                  </a:solidFill>
                </a:rPr>
                <a:t>Legend:</a:t>
              </a:r>
            </a:p>
          </p:txBody>
        </p:sp>
      </p:grpSp>
      <p:sp>
        <p:nvSpPr>
          <p:cNvPr id="92" name="btfpNotesBox885677">
            <a:extLst>
              <a:ext uri="{FF2B5EF4-FFF2-40B4-BE49-F238E27FC236}">
                <a16:creationId xmlns:a16="http://schemas.microsoft.com/office/drawing/2014/main" id="{1266746C-600F-7D84-F6E9-3C196EFDDA43}"/>
              </a:ext>
            </a:extLst>
          </p:cNvPr>
          <p:cNvSpPr txBox="1"/>
          <p:nvPr>
            <p:custDataLst>
              <p:tags r:id="rId32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US" sz="800" dirty="0">
                <a:solidFill>
                  <a:srgbClr val="000000"/>
                </a:solidFill>
              </a:rPr>
              <a:t>Note: PortCos reporting only Scope 1&amp;2 emissions data cannot move past ‘Preparing to Decarbonise’; 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[invested capital/ financed emissions] data row(s) due to lack of data; </a:t>
            </a:r>
            <a:r>
              <a:rPr lang="en-GB" sz="800" dirty="0">
                <a:solidFill>
                  <a:srgbClr val="000000"/>
                </a:solidFill>
              </a:rPr>
              <a:t>Financed emissions and invested capital of PortCos present in different funds aggregated</a:t>
            </a:r>
            <a:r>
              <a:rPr lang="en-US" sz="800" dirty="0">
                <a:solidFill>
                  <a:srgbClr val="000000"/>
                </a:solidFill>
              </a:rPr>
              <a:t> </a:t>
            </a:r>
          </a:p>
        </p:txBody>
      </p:sp>
      <p:grpSp>
        <p:nvGrpSpPr>
          <p:cNvPr id="8" name="btfpRunningAgenda1Level573689">
            <a:extLst>
              <a:ext uri="{FF2B5EF4-FFF2-40B4-BE49-F238E27FC236}">
                <a16:creationId xmlns:a16="http://schemas.microsoft.com/office/drawing/2014/main" id="{6ACE5261-2DEF-9589-12BC-CA3EFB22E0F4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9" name="btfpRunningAgenda1LevelBarLeft573689">
              <a:extLst>
                <a:ext uri="{FF2B5EF4-FFF2-40B4-BE49-F238E27FC236}">
                  <a16:creationId xmlns:a16="http://schemas.microsoft.com/office/drawing/2014/main" id="{2A1ED639-8FA0-D3A1-1DBE-7214C1915CD6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1" name="btfpRunningAgenda1LevelTextLeft573689">
              <a:extLst>
                <a:ext uri="{FF2B5EF4-FFF2-40B4-BE49-F238E27FC236}">
                  <a16:creationId xmlns:a16="http://schemas.microsoft.com/office/drawing/2014/main" id="{081E6F58-90E4-FA02-CDEF-FAE987508F0C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24" name="Oval 23">
            <a:extLst>
              <a:ext uri="{FF2B5EF4-FFF2-40B4-BE49-F238E27FC236}">
                <a16:creationId xmlns:a16="http://schemas.microsoft.com/office/drawing/2014/main" id="{C7FF71AC-A932-E45C-5A59-5C81DEBCA04C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5</a:t>
            </a:r>
          </a:p>
        </p:txBody>
      </p:sp>
      <p:sp>
        <p:nvSpPr>
          <p:cNvPr id="148" name="Text Placeholder">
            <a:extLst>
              <a:ext uri="{FF2B5EF4-FFF2-40B4-BE49-F238E27FC236}">
                <a16:creationId xmlns:a16="http://schemas.microsoft.com/office/drawing/2014/main" id="{AFF18F2B-F34A-0A6D-25C5-E15E8CB199C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25438" y="5402262"/>
            <a:ext cx="1938338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0812BE1-12A2-4933-AA8F-2449B499D58A}" type="datetime'''''''''''''Fi''na''nc''''''ed ''emissions'' (''t''CO2''''e)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Financed emissions (tCO2e)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49" name="Text Placeholder">
            <a:extLst>
              <a:ext uri="{FF2B5EF4-FFF2-40B4-BE49-F238E27FC236}">
                <a16:creationId xmlns:a16="http://schemas.microsoft.com/office/drawing/2014/main" id="{64A726C6-CE57-AF48-F405-C70F67CE698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263775" y="5402262"/>
            <a:ext cx="1597025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2EC1AE-2E28-4BA4-8F8F-9790B40A88FC}" type="datetime'''''''''27,''''''4''''''''''''1''''''''''''''''''''0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27,41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0" name="Text Placeholder">
            <a:extLst>
              <a:ext uri="{FF2B5EF4-FFF2-40B4-BE49-F238E27FC236}">
                <a16:creationId xmlns:a16="http://schemas.microsoft.com/office/drawing/2014/main" id="{ED654151-356D-D67B-B802-298BA7B722E2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860800" y="5402262"/>
            <a:ext cx="1598613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E52BCD7-9E7F-4FFE-A49C-D675D5A5F149}" type="datetime'''''''1''''''2'''''',''''7''''''''''''5''''''''''0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12,75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1" name="Text Placeholder">
            <a:extLst>
              <a:ext uri="{FF2B5EF4-FFF2-40B4-BE49-F238E27FC236}">
                <a16:creationId xmlns:a16="http://schemas.microsoft.com/office/drawing/2014/main" id="{F446615B-A3E1-60F0-D92F-5EA220D68E46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5459413" y="5402262"/>
            <a:ext cx="153035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6675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400EC44-CBF0-4E9B-A641-5E2AF0295132}" type="datetime'''''''''''''''4'''''''''',''''7''''4''''0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4,74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2" name="Text Placeholder">
            <a:extLst>
              <a:ext uri="{FF2B5EF4-FFF2-40B4-BE49-F238E27FC236}">
                <a16:creationId xmlns:a16="http://schemas.microsoft.com/office/drawing/2014/main" id="{A3B21D33-CB14-B5A7-D422-A21D3E2935FE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6989763" y="5402262"/>
            <a:ext cx="173355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353657-AE4F-455B-B6D6-360EC2563549}" type="datetime'5'''''''''''''',''0''''''''2''''''''''''''''''''''0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5,02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3" name="Text Placeholder">
            <a:extLst>
              <a:ext uri="{FF2B5EF4-FFF2-40B4-BE49-F238E27FC236}">
                <a16:creationId xmlns:a16="http://schemas.microsoft.com/office/drawing/2014/main" id="{553924FE-C2F4-B4AC-247D-09CDBC9FA4AA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8723312" y="5402262"/>
            <a:ext cx="1530350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68263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0F268C2-EDC1-409E-B5DA-F272CBA9702A}" type="datetime'''''''''''''''3'''''''''',''''''''8''''''0''''''''''0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3,80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4" name="Text Placeholder">
            <a:extLst>
              <a:ext uri="{FF2B5EF4-FFF2-40B4-BE49-F238E27FC236}">
                <a16:creationId xmlns:a16="http://schemas.microsoft.com/office/drawing/2014/main" id="{B850BA29-8C89-B7D2-CDF5-4E191B6CFAA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10253663" y="5402262"/>
            <a:ext cx="1598613" cy="25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49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C11F4A-7DAE-4F73-AEC1-AE189D26BC60}" type="datetime'''''''''''1'''''''',''10''''''''''''''''''''''''''''''''0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1,10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5" name="Text Placeholder">
            <a:extLst>
              <a:ext uri="{FF2B5EF4-FFF2-40B4-BE49-F238E27FC236}">
                <a16:creationId xmlns:a16="http://schemas.microsoft.com/office/drawing/2014/main" id="{8FB56966-AC5E-CEAB-C875-17FCBD2A47F7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325438" y="5656262"/>
            <a:ext cx="1938338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F233E7A-8F4A-4A91-966F-B6059051DA30}" type="datetime'''''Inv''''''e''s''''t''''ed'''''''' c''apit''al ''($b)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Invested capital ($b)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6" name="Text Placeholder">
            <a:extLst>
              <a:ext uri="{FF2B5EF4-FFF2-40B4-BE49-F238E27FC236}">
                <a16:creationId xmlns:a16="http://schemas.microsoft.com/office/drawing/2014/main" id="{FB18E938-925E-636A-BA1E-75FE51AEBB17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263775" y="5656262"/>
            <a:ext cx="1597025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984230-4133-474C-ACC9-E23E9F97A3DA}" type="datetime'''''''''20''''''''''''''''''''''''''''''''''.''''0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20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7" name="Text Placeholder">
            <a:extLst>
              <a:ext uri="{FF2B5EF4-FFF2-40B4-BE49-F238E27FC236}">
                <a16:creationId xmlns:a16="http://schemas.microsoft.com/office/drawing/2014/main" id="{3A6B4891-0FB9-34DF-C91F-3B97036E6709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3860800" y="5656262"/>
            <a:ext cx="15986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7CAC09-0872-4C32-9AD8-8EB4D8CF9BB0}" type="datetime'8''''''''.''''''''''''''''''''''''''''''''''''''''''0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8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8" name="Text Placeholder">
            <a:extLst>
              <a:ext uri="{FF2B5EF4-FFF2-40B4-BE49-F238E27FC236}">
                <a16:creationId xmlns:a16="http://schemas.microsoft.com/office/drawing/2014/main" id="{8DDEA8CA-AC7D-1298-579D-032C7FDA1219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5459413" y="5656262"/>
            <a:ext cx="15303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66675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96C3E5-83CD-48B1-B99A-7DF139CD3794}" type="datetime'''''3''''''''''''''''''''''''''''''.''''''''0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3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59" name="Text Placeholder">
            <a:extLst>
              <a:ext uri="{FF2B5EF4-FFF2-40B4-BE49-F238E27FC236}">
                <a16:creationId xmlns:a16="http://schemas.microsoft.com/office/drawing/2014/main" id="{62970DD5-91E3-BB8E-6CD8-9211DDFCD310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989763" y="5656262"/>
            <a:ext cx="17335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5630C5-0ABD-42BB-8523-D4D6AEB97DC6}" type="datetime'''''''''''4''''''''''''''''''.''''''''''''''0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4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0" name="Text Placeholder">
            <a:extLst>
              <a:ext uri="{FF2B5EF4-FFF2-40B4-BE49-F238E27FC236}">
                <a16:creationId xmlns:a16="http://schemas.microsoft.com/office/drawing/2014/main" id="{01B7E31A-90FB-F66D-372F-ACAB3F7819A6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723312" y="5656262"/>
            <a:ext cx="1530350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68263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F6BCFD8-6091-442F-BDD7-0F7614FB8B8D}" type="datetime'''''''''''''''''''''2.''0''''''''''''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2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81D382F7-8F75-110B-B1F4-296DFC17DF84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10253663" y="5656262"/>
            <a:ext cx="1598613" cy="25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6513" rIns="0" bIns="3651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59E4A94-A2CD-4177-A2DD-308C4E78A653}" type="datetime'''''''''''''''''2.0'''''''''''''''''''''''">
              <a:rPr lang="en-US" altLang="en-US" sz="1200" smtClean="0">
                <a:solidFill>
                  <a:srgbClr val="000000"/>
                </a:solidFill>
                <a:ea typeface="+mj-ea"/>
                <a:cs typeface="+mj-cs"/>
              </a:rPr>
              <a:pPr/>
              <a:t>2.0</a:t>
            </a:fld>
            <a:endParaRPr lang="en-US" sz="1200" dirty="0">
              <a:solidFill>
                <a:srgbClr val="000000"/>
              </a:solidFill>
              <a:ea typeface="+mj-ea"/>
              <a:cs typeface="+mj-cs"/>
            </a:endParaRP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BF6DE22-0BC0-E4B8-6E22-8737642E06CA}"/>
              </a:ext>
            </a:extLst>
          </p:cNvPr>
          <p:cNvCxnSpPr>
            <a:cxnSpLocks/>
          </p:cNvCxnSpPr>
          <p:nvPr/>
        </p:nvCxnSpPr>
        <p:spPr bwMode="gray">
          <a:xfrm>
            <a:off x="3892586" y="1624868"/>
            <a:ext cx="0" cy="4288703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tangle 177">
            <a:extLst>
              <a:ext uri="{FF2B5EF4-FFF2-40B4-BE49-F238E27FC236}">
                <a16:creationId xmlns:a16="http://schemas.microsoft.com/office/drawing/2014/main" id="{EDC26821-D27D-A93D-1ACA-15C4E41B6F73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23" name="btfpBulletedList571427">
            <a:extLst>
              <a:ext uri="{FF2B5EF4-FFF2-40B4-BE49-F238E27FC236}">
                <a16:creationId xmlns:a16="http://schemas.microsoft.com/office/drawing/2014/main" id="{028474A7-38EF-6215-897C-9C7BB4A3A4A2}"/>
              </a:ext>
            </a:extLst>
          </p:cNvPr>
          <p:cNvSpPr/>
          <p:nvPr/>
        </p:nvSpPr>
        <p:spPr bwMode="gray">
          <a:xfrm>
            <a:off x="8954100" y="1"/>
            <a:ext cx="3237900" cy="15748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2331886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855FAD52-FA9C-ADEC-B80C-824BB5DA4FE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8960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84" imgH="486" progId="TCLayout.ActiveDocument.1">
                  <p:embed/>
                </p:oleObj>
              </mc:Choice>
              <mc:Fallback>
                <p:oleObj name="think-cell Slide" r:id="rId8" imgW="484" imgH="4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5FAD52-FA9C-ADEC-B80C-824BB5DA4F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29" name="btfpColumnIndicatorGroup2">
            <a:extLst>
              <a:ext uri="{FF2B5EF4-FFF2-40B4-BE49-F238E27FC236}">
                <a16:creationId xmlns:a16="http://schemas.microsoft.com/office/drawing/2014/main" id="{7451C6E1-0204-6A3B-3AE8-747626270E74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025" name="btfpColumnGapBlocker195968">
              <a:extLst>
                <a:ext uri="{FF2B5EF4-FFF2-40B4-BE49-F238E27FC236}">
                  <a16:creationId xmlns:a16="http://schemas.microsoft.com/office/drawing/2014/main" id="{710C4733-2716-2283-9BD5-04E66464DF33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3" name="btfpColumnGapBlocker898970">
              <a:extLst>
                <a:ext uri="{FF2B5EF4-FFF2-40B4-BE49-F238E27FC236}">
                  <a16:creationId xmlns:a16="http://schemas.microsoft.com/office/drawing/2014/main" id="{7BE5EB74-B97A-58D1-D158-1339DA7F0FD0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1" name="btfpColumnIndicator145318">
              <a:extLst>
                <a:ext uri="{FF2B5EF4-FFF2-40B4-BE49-F238E27FC236}">
                  <a16:creationId xmlns:a16="http://schemas.microsoft.com/office/drawing/2014/main" id="{70CED194-4649-7596-F9D9-9EEA094A7BF1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btfpColumnIndicator639796">
              <a:extLst>
                <a:ext uri="{FF2B5EF4-FFF2-40B4-BE49-F238E27FC236}">
                  <a16:creationId xmlns:a16="http://schemas.microsoft.com/office/drawing/2014/main" id="{7A3AF759-D6D4-59A7-3F06-A1AEBDA13BB9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27" name="btfpColumnIndicatorGroup1">
            <a:extLst>
              <a:ext uri="{FF2B5EF4-FFF2-40B4-BE49-F238E27FC236}">
                <a16:creationId xmlns:a16="http://schemas.microsoft.com/office/drawing/2014/main" id="{191C3DEE-11DD-AB45-67C5-4CE916144A2A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024" name="btfpColumnGapBlocker790738">
              <a:extLst>
                <a:ext uri="{FF2B5EF4-FFF2-40B4-BE49-F238E27FC236}">
                  <a16:creationId xmlns:a16="http://schemas.microsoft.com/office/drawing/2014/main" id="{3AC35E53-06A3-CE14-AFCF-3C44A2799615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btfpColumnGapBlocker388152">
              <a:extLst>
                <a:ext uri="{FF2B5EF4-FFF2-40B4-BE49-F238E27FC236}">
                  <a16:creationId xmlns:a16="http://schemas.microsoft.com/office/drawing/2014/main" id="{45B42BBC-45B9-622C-3A93-FB571F20CE68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0" name="btfpColumnIndicator884347">
              <a:extLst>
                <a:ext uri="{FF2B5EF4-FFF2-40B4-BE49-F238E27FC236}">
                  <a16:creationId xmlns:a16="http://schemas.microsoft.com/office/drawing/2014/main" id="{FD7D81A1-421C-D963-CA0B-3BE3A50425D7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btfpColumnIndicator228200">
              <a:extLst>
                <a:ext uri="{FF2B5EF4-FFF2-40B4-BE49-F238E27FC236}">
                  <a16:creationId xmlns:a16="http://schemas.microsoft.com/office/drawing/2014/main" id="{B32C6796-2C31-CD6F-3B9F-21512697E8B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AF56800-F084-66EF-158B-B9806F222C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GB" dirty="0"/>
              <a:t>PortCos by financed emissions and Alignment Scale</a:t>
            </a:r>
          </a:p>
        </p:txBody>
      </p:sp>
      <p:sp>
        <p:nvSpPr>
          <p:cNvPr id="13" name="btfpValueChainElement4083191">
            <a:extLst>
              <a:ext uri="{FF2B5EF4-FFF2-40B4-BE49-F238E27FC236}">
                <a16:creationId xmlns:a16="http://schemas.microsoft.com/office/drawing/2014/main" id="{8B7A6C07-4CBE-F70D-FB4C-19EC4FC4CE56}"/>
              </a:ext>
            </a:extLst>
          </p:cNvPr>
          <p:cNvSpPr/>
          <p:nvPr/>
        </p:nvSpPr>
        <p:spPr bwMode="gray">
          <a:xfrm>
            <a:off x="838200" y="1454149"/>
            <a:ext cx="2232000" cy="507998"/>
          </a:xfrm>
          <a:prstGeom prst="homePlate">
            <a:avLst>
              <a:gd name="adj" fmla="val 24348"/>
            </a:avLst>
          </a:prstGeom>
          <a:solidFill>
            <a:srgbClr val="F0F0F0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16" name="btfpValueChainElement4083194">
            <a:extLst>
              <a:ext uri="{FF2B5EF4-FFF2-40B4-BE49-F238E27FC236}">
                <a16:creationId xmlns:a16="http://schemas.microsoft.com/office/drawing/2014/main" id="{460EAE6A-E605-FAF9-CFFC-0C3C828C83BD}"/>
              </a:ext>
            </a:extLst>
          </p:cNvPr>
          <p:cNvSpPr/>
          <p:nvPr/>
        </p:nvSpPr>
        <p:spPr bwMode="gray">
          <a:xfrm>
            <a:off x="7431900" y="1454150"/>
            <a:ext cx="2232000" cy="508000"/>
          </a:xfrm>
          <a:prstGeom prst="chevron">
            <a:avLst>
              <a:gd name="adj" fmla="val 24348"/>
            </a:avLst>
          </a:prstGeom>
          <a:solidFill>
            <a:srgbClr val="43868B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</a:p>
        </p:txBody>
      </p:sp>
      <p:sp>
        <p:nvSpPr>
          <p:cNvPr id="17" name="btfpValueChainElement4083195">
            <a:extLst>
              <a:ext uri="{FF2B5EF4-FFF2-40B4-BE49-F238E27FC236}">
                <a16:creationId xmlns:a16="http://schemas.microsoft.com/office/drawing/2014/main" id="{8BEDED43-46D6-97D7-2346-0385D061E3F1}"/>
              </a:ext>
            </a:extLst>
          </p:cNvPr>
          <p:cNvSpPr/>
          <p:nvPr/>
        </p:nvSpPr>
        <p:spPr bwMode="gray">
          <a:xfrm>
            <a:off x="9629800" y="1454150"/>
            <a:ext cx="2232000" cy="508000"/>
          </a:xfrm>
          <a:prstGeom prst="chevron">
            <a:avLst>
              <a:gd name="adj" fmla="val 24348"/>
            </a:avLst>
          </a:prstGeom>
          <a:solidFill>
            <a:srgbClr val="045E64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 to Net Zero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BE1978-C383-31F6-6F72-BE780579357B}"/>
              </a:ext>
            </a:extLst>
          </p:cNvPr>
          <p:cNvSpPr/>
          <p:nvPr/>
        </p:nvSpPr>
        <p:spPr bwMode="gray">
          <a:xfrm>
            <a:off x="838200" y="1962250"/>
            <a:ext cx="2232000" cy="4248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36000" rIns="1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 transition journey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109EAF9-8895-7E7A-1C53-4084AF92693C}"/>
              </a:ext>
            </a:extLst>
          </p:cNvPr>
          <p:cNvSpPr/>
          <p:nvPr/>
        </p:nvSpPr>
        <p:spPr bwMode="gray">
          <a:xfrm>
            <a:off x="7428327" y="1962250"/>
            <a:ext cx="2232000" cy="4248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36000" rIns="1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aligned to pathway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AEDCDA4D-4214-320F-1EA1-12C044F16546}"/>
              </a:ext>
            </a:extLst>
          </p:cNvPr>
          <p:cNvSpPr/>
          <p:nvPr/>
        </p:nvSpPr>
        <p:spPr bwMode="gray">
          <a:xfrm>
            <a:off x="9625038" y="1962250"/>
            <a:ext cx="2232000" cy="4248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36000" rIns="1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erations aligned to pathway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BB92610-EE0A-546B-B2AF-3A03FCB45180}"/>
              </a:ext>
            </a:extLst>
          </p:cNvPr>
          <p:cNvCxnSpPr>
            <a:cxnSpLocks/>
          </p:cNvCxnSpPr>
          <p:nvPr/>
        </p:nvCxnSpPr>
        <p:spPr bwMode="gray">
          <a:xfrm>
            <a:off x="725916" y="2445035"/>
            <a:ext cx="0" cy="470530"/>
          </a:xfrm>
          <a:prstGeom prst="line">
            <a:avLst/>
          </a:prstGeom>
          <a:ln w="2857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5C00F5F2-B801-ACC2-399F-80D5A8C25363}"/>
              </a:ext>
            </a:extLst>
          </p:cNvPr>
          <p:cNvCxnSpPr>
            <a:cxnSpLocks/>
          </p:cNvCxnSpPr>
          <p:nvPr/>
        </p:nvCxnSpPr>
        <p:spPr bwMode="gray">
          <a:xfrm>
            <a:off x="725916" y="3072532"/>
            <a:ext cx="0" cy="614532"/>
          </a:xfrm>
          <a:prstGeom prst="line">
            <a:avLst/>
          </a:prstGeom>
          <a:ln w="28575" cap="flat" cmpd="sng" algn="ctr">
            <a:solidFill>
              <a:srgbClr val="E9CD49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CE180430-BA24-FF98-71B8-231348234DA3}"/>
              </a:ext>
            </a:extLst>
          </p:cNvPr>
          <p:cNvCxnSpPr>
            <a:cxnSpLocks/>
          </p:cNvCxnSpPr>
          <p:nvPr/>
        </p:nvCxnSpPr>
        <p:spPr bwMode="gray">
          <a:xfrm>
            <a:off x="725916" y="3874171"/>
            <a:ext cx="0" cy="1068890"/>
          </a:xfrm>
          <a:prstGeom prst="line">
            <a:avLst/>
          </a:prstGeom>
          <a:ln w="28575" cap="flat" cmpd="sng" algn="ctr">
            <a:solidFill>
              <a:srgbClr val="507867"/>
            </a:solidFill>
            <a:prstDash val="solid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22" name="TextBox 1121">
            <a:extLst>
              <a:ext uri="{FF2B5EF4-FFF2-40B4-BE49-F238E27FC236}">
                <a16:creationId xmlns:a16="http://schemas.microsoft.com/office/drawing/2014/main" id="{C82B0F3A-7499-4C02-4C70-EC511DC455D0}"/>
              </a:ext>
            </a:extLst>
          </p:cNvPr>
          <p:cNvSpPr txBox="1"/>
          <p:nvPr/>
        </p:nvSpPr>
        <p:spPr bwMode="gray">
          <a:xfrm>
            <a:off x="1520866" y="1223821"/>
            <a:ext cx="93425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 PortCos</a:t>
            </a:r>
          </a:p>
        </p:txBody>
      </p:sp>
      <p:sp>
        <p:nvSpPr>
          <p:cNvPr id="1125" name="TextBox 1124">
            <a:extLst>
              <a:ext uri="{FF2B5EF4-FFF2-40B4-BE49-F238E27FC236}">
                <a16:creationId xmlns:a16="http://schemas.microsoft.com/office/drawing/2014/main" id="{5A24E87F-4240-8A67-6BAA-DB7B09021016}"/>
              </a:ext>
            </a:extLst>
          </p:cNvPr>
          <p:cNvSpPr txBox="1"/>
          <p:nvPr/>
        </p:nvSpPr>
        <p:spPr bwMode="gray">
          <a:xfrm>
            <a:off x="10273912" y="1223821"/>
            <a:ext cx="93425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PortCo</a:t>
            </a:r>
          </a:p>
        </p:txBody>
      </p:sp>
      <p:sp>
        <p:nvSpPr>
          <p:cNvPr id="1126" name="TextBox 1125">
            <a:extLst>
              <a:ext uri="{FF2B5EF4-FFF2-40B4-BE49-F238E27FC236}">
                <a16:creationId xmlns:a16="http://schemas.microsoft.com/office/drawing/2014/main" id="{4B65262F-E22F-35FD-B8B2-6C2178122037}"/>
              </a:ext>
            </a:extLst>
          </p:cNvPr>
          <p:cNvSpPr txBox="1"/>
          <p:nvPr/>
        </p:nvSpPr>
        <p:spPr bwMode="gray">
          <a:xfrm>
            <a:off x="8141369" y="1223821"/>
            <a:ext cx="93425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 PortCos</a:t>
            </a:r>
          </a:p>
        </p:txBody>
      </p:sp>
      <p:sp>
        <p:nvSpPr>
          <p:cNvPr id="1153" name="TextBox 1152">
            <a:extLst>
              <a:ext uri="{FF2B5EF4-FFF2-40B4-BE49-F238E27FC236}">
                <a16:creationId xmlns:a16="http://schemas.microsoft.com/office/drawing/2014/main" id="{D7BC3827-597F-484D-413E-C9AAE9941946}"/>
              </a:ext>
            </a:extLst>
          </p:cNvPr>
          <p:cNvSpPr txBox="1"/>
          <p:nvPr/>
        </p:nvSpPr>
        <p:spPr bwMode="gray">
          <a:xfrm rot="16200000">
            <a:off x="295146" y="2559310"/>
            <a:ext cx="47053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 </a:t>
            </a:r>
          </a:p>
        </p:txBody>
      </p:sp>
      <p:sp>
        <p:nvSpPr>
          <p:cNvPr id="1154" name="TextBox 1153">
            <a:extLst>
              <a:ext uri="{FF2B5EF4-FFF2-40B4-BE49-F238E27FC236}">
                <a16:creationId xmlns:a16="http://schemas.microsoft.com/office/drawing/2014/main" id="{7E6E902C-CDF9-1FD5-0C5E-42B39F7098D7}"/>
              </a:ext>
            </a:extLst>
          </p:cNvPr>
          <p:cNvSpPr txBox="1"/>
          <p:nvPr/>
        </p:nvSpPr>
        <p:spPr bwMode="gray">
          <a:xfrm rot="16200000">
            <a:off x="217724" y="3258808"/>
            <a:ext cx="614532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 dirty="0">
                <a:ln>
                  <a:noFill/>
                </a:ln>
                <a:solidFill>
                  <a:srgbClr val="E9C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</a:t>
            </a:r>
          </a:p>
        </p:txBody>
      </p:sp>
      <p:sp>
        <p:nvSpPr>
          <p:cNvPr id="1155" name="TextBox 1154">
            <a:extLst>
              <a:ext uri="{FF2B5EF4-FFF2-40B4-BE49-F238E27FC236}">
                <a16:creationId xmlns:a16="http://schemas.microsoft.com/office/drawing/2014/main" id="{9122F8BC-DEAA-FB7B-5446-337DF80F106B}"/>
              </a:ext>
            </a:extLst>
          </p:cNvPr>
          <p:cNvSpPr txBox="1"/>
          <p:nvPr/>
        </p:nvSpPr>
        <p:spPr bwMode="gray">
          <a:xfrm rot="16200000">
            <a:off x="-9454" y="4287626"/>
            <a:ext cx="1068890" cy="2419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</a:t>
            </a:r>
          </a:p>
        </p:txBody>
      </p:sp>
      <p:sp>
        <p:nvSpPr>
          <p:cNvPr id="1156" name="TextBox 1155">
            <a:extLst>
              <a:ext uri="{FF2B5EF4-FFF2-40B4-BE49-F238E27FC236}">
                <a16:creationId xmlns:a16="http://schemas.microsoft.com/office/drawing/2014/main" id="{9FA94933-ED5B-CCC0-3954-5D46299202EE}"/>
              </a:ext>
            </a:extLst>
          </p:cNvPr>
          <p:cNvSpPr txBox="1"/>
          <p:nvPr/>
        </p:nvSpPr>
        <p:spPr bwMode="gray">
          <a:xfrm rot="16200000">
            <a:off x="37385" y="5349266"/>
            <a:ext cx="975210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1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ata not available yet</a:t>
            </a:r>
          </a:p>
        </p:txBody>
      </p:sp>
      <p:sp>
        <p:nvSpPr>
          <p:cNvPr id="1196" name="TextBox 1195">
            <a:extLst>
              <a:ext uri="{FF2B5EF4-FFF2-40B4-BE49-F238E27FC236}">
                <a16:creationId xmlns:a16="http://schemas.microsoft.com/office/drawing/2014/main" id="{645961EF-1BD0-07D6-BA23-DC56CA7B758A}"/>
              </a:ext>
            </a:extLst>
          </p:cNvPr>
          <p:cNvSpPr txBox="1"/>
          <p:nvPr/>
        </p:nvSpPr>
        <p:spPr bwMode="gray">
          <a:xfrm>
            <a:off x="42429" y="1968470"/>
            <a:ext cx="775585" cy="41125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100" b="1" i="1" dirty="0">
                <a:solidFill>
                  <a:srgbClr val="000000"/>
                </a:solidFill>
                <a:latin typeface="Arial"/>
              </a:rPr>
              <a:t>F</a:t>
            </a:r>
            <a:r>
              <a:rPr kumimoji="0" lang="en-GB" sz="11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anced emissions</a:t>
            </a:r>
          </a:p>
        </p:txBody>
      </p:sp>
      <p:cxnSp>
        <p:nvCxnSpPr>
          <p:cNvPr id="1266" name="Straight Connector 1265">
            <a:extLst>
              <a:ext uri="{FF2B5EF4-FFF2-40B4-BE49-F238E27FC236}">
                <a16:creationId xmlns:a16="http://schemas.microsoft.com/office/drawing/2014/main" id="{1B3D049D-171D-473B-4D07-D2998CA7DB00}"/>
              </a:ext>
            </a:extLst>
          </p:cNvPr>
          <p:cNvCxnSpPr>
            <a:cxnSpLocks/>
          </p:cNvCxnSpPr>
          <p:nvPr/>
        </p:nvCxnSpPr>
        <p:spPr bwMode="gray">
          <a:xfrm flipV="1">
            <a:off x="838199" y="2984540"/>
            <a:ext cx="10816075" cy="174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7" name="Straight Connector 1266">
            <a:extLst>
              <a:ext uri="{FF2B5EF4-FFF2-40B4-BE49-F238E27FC236}">
                <a16:creationId xmlns:a16="http://schemas.microsoft.com/office/drawing/2014/main" id="{1B2C952B-5CA8-5C88-0F53-DD8BB09BBFD9}"/>
              </a:ext>
            </a:extLst>
          </p:cNvPr>
          <p:cNvCxnSpPr>
            <a:cxnSpLocks/>
          </p:cNvCxnSpPr>
          <p:nvPr/>
        </p:nvCxnSpPr>
        <p:spPr bwMode="gray">
          <a:xfrm flipV="1">
            <a:off x="818014" y="3796819"/>
            <a:ext cx="10816075" cy="174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8" name="Straight Connector 1267">
            <a:extLst>
              <a:ext uri="{FF2B5EF4-FFF2-40B4-BE49-F238E27FC236}">
                <a16:creationId xmlns:a16="http://schemas.microsoft.com/office/drawing/2014/main" id="{B17762C8-6D15-17FB-134C-901C710842A9}"/>
              </a:ext>
            </a:extLst>
          </p:cNvPr>
          <p:cNvCxnSpPr>
            <a:cxnSpLocks/>
          </p:cNvCxnSpPr>
          <p:nvPr/>
        </p:nvCxnSpPr>
        <p:spPr bwMode="gray">
          <a:xfrm flipV="1">
            <a:off x="838200" y="5031261"/>
            <a:ext cx="10816075" cy="174"/>
          </a:xfrm>
          <a:prstGeom prst="line">
            <a:avLst/>
          </a:prstGeom>
          <a:ln w="9525" cap="flat" cmpd="sng" algn="ctr">
            <a:solidFill>
              <a:srgbClr val="B4B4B4"/>
            </a:solidFill>
            <a:prstDash val="dash"/>
            <a:miter lim="800000"/>
            <a:headEnd type="none" w="med" len="med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0FADA3FE-73A1-B7E0-9E02-802F6EBABF3C}"/>
              </a:ext>
            </a:extLst>
          </p:cNvPr>
          <p:cNvSpPr/>
          <p:nvPr/>
        </p:nvSpPr>
        <p:spPr bwMode="gray">
          <a:xfrm>
            <a:off x="7506010" y="5614970"/>
            <a:ext cx="4286821" cy="800522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4E2658B-6F20-F0A2-3548-52A6306744A8}"/>
              </a:ext>
            </a:extLst>
          </p:cNvPr>
          <p:cNvSpPr txBox="1"/>
          <p:nvPr/>
        </p:nvSpPr>
        <p:spPr bwMode="gray">
          <a:xfrm>
            <a:off x="7633156" y="5490592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67755D7-8DC9-61FF-AA73-59347DB70405}"/>
              </a:ext>
            </a:extLst>
          </p:cNvPr>
          <p:cNvSpPr txBox="1"/>
          <p:nvPr/>
        </p:nvSpPr>
        <p:spPr bwMode="gray">
          <a:xfrm>
            <a:off x="7540022" y="6119786"/>
            <a:ext cx="1354973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99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igh: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gt; XX [CO2e/yr]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816CED8-6CFE-EB24-4C9D-6EAB395AF9FE}"/>
              </a:ext>
            </a:extLst>
          </p:cNvPr>
          <p:cNvSpPr txBox="1"/>
          <p:nvPr/>
        </p:nvSpPr>
        <p:spPr bwMode="gray">
          <a:xfrm>
            <a:off x="8894996" y="6119786"/>
            <a:ext cx="1657560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E9CD4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dium:</a:t>
            </a: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XX-XX [CO2e/yr]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79C24C7E-B9A7-3ADD-18EB-46037B5C3C70}"/>
              </a:ext>
            </a:extLst>
          </p:cNvPr>
          <p:cNvSpPr txBox="1"/>
          <p:nvPr/>
        </p:nvSpPr>
        <p:spPr bwMode="gray">
          <a:xfrm>
            <a:off x="10531863" y="6119786"/>
            <a:ext cx="1280723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507867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w: </a:t>
            </a:r>
            <a:r>
              <a:rPr kumimoji="0" lang="en-GB" sz="100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&lt;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XX [CO2e/yr]</a:t>
            </a: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71206D28-A97F-D9EF-F662-3E1C48B82501}"/>
              </a:ext>
            </a:extLst>
          </p:cNvPr>
          <p:cNvSpPr/>
          <p:nvPr/>
        </p:nvSpPr>
        <p:spPr bwMode="gray">
          <a:xfrm>
            <a:off x="7605834" y="5800043"/>
            <a:ext cx="244222" cy="221551"/>
          </a:xfrm>
          <a:prstGeom prst="rect">
            <a:avLst/>
          </a:prstGeom>
          <a:solidFill>
            <a:schemeClr val="bg1"/>
          </a:solidFill>
          <a:ln w="19050">
            <a:solidFill>
              <a:srgbClr val="C8285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F3EC752-78D6-07E9-FDBE-EF314393F943}"/>
              </a:ext>
            </a:extLst>
          </p:cNvPr>
          <p:cNvSpPr txBox="1"/>
          <p:nvPr/>
        </p:nvSpPr>
        <p:spPr bwMode="gray">
          <a:xfrm>
            <a:off x="7925521" y="5720578"/>
            <a:ext cx="112416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 Current </a:t>
            </a:r>
            <a:r>
              <a:rPr lang="en-GB" sz="1000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thway to Align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F7727CA0-73D7-6556-9FD5-F91C28253A8B}"/>
              </a:ext>
            </a:extLst>
          </p:cNvPr>
          <p:cNvSpPr/>
          <p:nvPr/>
        </p:nvSpPr>
        <p:spPr bwMode="gray">
          <a:xfrm>
            <a:off x="9065281" y="5800043"/>
            <a:ext cx="244222" cy="221551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1CB41B3C-7C13-CFC0-36BF-65E8D1B96E9F}"/>
              </a:ext>
            </a:extLst>
          </p:cNvPr>
          <p:cNvSpPr txBox="1"/>
          <p:nvPr/>
        </p:nvSpPr>
        <p:spPr bwMode="gray">
          <a:xfrm>
            <a:off x="9384968" y="5720578"/>
            <a:ext cx="107338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merging Decarb. Enabler</a:t>
            </a:r>
          </a:p>
        </p:txBody>
      </p:sp>
      <p:sp>
        <p:nvSpPr>
          <p:cNvPr id="1031" name="Rectangle 1030">
            <a:extLst>
              <a:ext uri="{FF2B5EF4-FFF2-40B4-BE49-F238E27FC236}">
                <a16:creationId xmlns:a16="http://schemas.microsoft.com/office/drawing/2014/main" id="{EFD5A6DF-A401-1E0B-A8B5-5E687D08F276}"/>
              </a:ext>
            </a:extLst>
          </p:cNvPr>
          <p:cNvSpPr/>
          <p:nvPr/>
        </p:nvSpPr>
        <p:spPr bwMode="gray">
          <a:xfrm>
            <a:off x="10582448" y="5800043"/>
            <a:ext cx="244222" cy="221551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33" name="TextBox 1032">
            <a:extLst>
              <a:ext uri="{FF2B5EF4-FFF2-40B4-BE49-F238E27FC236}">
                <a16:creationId xmlns:a16="http://schemas.microsoft.com/office/drawing/2014/main" id="{282806D1-FABE-96BD-DEF9-98E749068BBB}"/>
              </a:ext>
            </a:extLst>
          </p:cNvPr>
          <p:cNvSpPr txBox="1"/>
          <p:nvPr/>
        </p:nvSpPr>
        <p:spPr bwMode="gray">
          <a:xfrm>
            <a:off x="10902135" y="5720578"/>
            <a:ext cx="1025770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carb.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nabler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AF2D029-43F1-5952-91AC-29A543DEBDD4}"/>
              </a:ext>
            </a:extLst>
          </p:cNvPr>
          <p:cNvSpPr/>
          <p:nvPr/>
        </p:nvSpPr>
        <p:spPr bwMode="gray">
          <a:xfrm>
            <a:off x="4154476" y="4283048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4</a:t>
            </a: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BB25EFE-16C6-28AA-557D-5F21B4DBFC8C}"/>
              </a:ext>
            </a:extLst>
          </p:cNvPr>
          <p:cNvSpPr/>
          <p:nvPr/>
        </p:nvSpPr>
        <p:spPr bwMode="gray">
          <a:xfrm>
            <a:off x="6410217" y="4285442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3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1DBDDD7-D666-E671-2241-390BCD055E5D}"/>
              </a:ext>
            </a:extLst>
          </p:cNvPr>
          <p:cNvSpPr/>
          <p:nvPr/>
        </p:nvSpPr>
        <p:spPr bwMode="gray">
          <a:xfrm>
            <a:off x="1523097" y="5571742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6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904D4C9-3E39-751A-58B6-50B9A23A5A28}"/>
              </a:ext>
            </a:extLst>
          </p:cNvPr>
          <p:cNvSpPr/>
          <p:nvPr/>
        </p:nvSpPr>
        <p:spPr bwMode="gray">
          <a:xfrm>
            <a:off x="1549269" y="3938736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8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FCF7CFA-D499-32FB-1B3D-836158316374}"/>
              </a:ext>
            </a:extLst>
          </p:cNvPr>
          <p:cNvSpPr/>
          <p:nvPr/>
        </p:nvSpPr>
        <p:spPr bwMode="gray">
          <a:xfrm>
            <a:off x="1224056" y="4257264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2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5130C61-656D-DBDD-1943-428BCEF308BA}"/>
              </a:ext>
            </a:extLst>
          </p:cNvPr>
          <p:cNvSpPr/>
          <p:nvPr/>
        </p:nvSpPr>
        <p:spPr bwMode="gray">
          <a:xfrm>
            <a:off x="1224056" y="4569025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6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510036E0-0133-2E00-33A0-62017448D057}"/>
              </a:ext>
            </a:extLst>
          </p:cNvPr>
          <p:cNvSpPr/>
          <p:nvPr/>
        </p:nvSpPr>
        <p:spPr bwMode="gray">
          <a:xfrm>
            <a:off x="1873118" y="4569025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0</a:t>
            </a: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A8328684-8F24-B4C6-490E-61C103B08E83}"/>
              </a:ext>
            </a:extLst>
          </p:cNvPr>
          <p:cNvSpPr/>
          <p:nvPr/>
        </p:nvSpPr>
        <p:spPr bwMode="gray">
          <a:xfrm>
            <a:off x="5759478" y="3104823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5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BFF3B283-D977-6300-3461-7EF78FCB5B41}"/>
              </a:ext>
            </a:extLst>
          </p:cNvPr>
          <p:cNvSpPr/>
          <p:nvPr/>
        </p:nvSpPr>
        <p:spPr bwMode="gray">
          <a:xfrm>
            <a:off x="5759478" y="3407137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9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3BB133F1-B405-2524-F444-264408306031}"/>
              </a:ext>
            </a:extLst>
          </p:cNvPr>
          <p:cNvSpPr/>
          <p:nvPr/>
        </p:nvSpPr>
        <p:spPr bwMode="gray">
          <a:xfrm>
            <a:off x="7925521" y="2574001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7</a:t>
            </a:r>
          </a:p>
        </p:txBody>
      </p:sp>
      <p:sp>
        <p:nvSpPr>
          <p:cNvPr id="1032" name="Rectangle 1031">
            <a:extLst>
              <a:ext uri="{FF2B5EF4-FFF2-40B4-BE49-F238E27FC236}">
                <a16:creationId xmlns:a16="http://schemas.microsoft.com/office/drawing/2014/main" id="{1370C80D-C3ED-FC1E-9EF5-F6B4A5C6EA80}"/>
              </a:ext>
            </a:extLst>
          </p:cNvPr>
          <p:cNvSpPr/>
          <p:nvPr/>
        </p:nvSpPr>
        <p:spPr bwMode="gray">
          <a:xfrm>
            <a:off x="7925521" y="3296703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1</a:t>
            </a:r>
          </a:p>
        </p:txBody>
      </p:sp>
      <p:sp>
        <p:nvSpPr>
          <p:cNvPr id="1037" name="Rectangle 1036">
            <a:extLst>
              <a:ext uri="{FF2B5EF4-FFF2-40B4-BE49-F238E27FC236}">
                <a16:creationId xmlns:a16="http://schemas.microsoft.com/office/drawing/2014/main" id="{677B23D1-F151-E084-D582-11E101694F80}"/>
              </a:ext>
            </a:extLst>
          </p:cNvPr>
          <p:cNvSpPr/>
          <p:nvPr/>
        </p:nvSpPr>
        <p:spPr bwMode="gray">
          <a:xfrm>
            <a:off x="1214228" y="3249511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</a:t>
            </a: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432236F3-13BD-6D8A-3E68-220247935FEE}"/>
              </a:ext>
            </a:extLst>
          </p:cNvPr>
          <p:cNvSpPr/>
          <p:nvPr/>
        </p:nvSpPr>
        <p:spPr bwMode="gray">
          <a:xfrm>
            <a:off x="1873118" y="3249511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3</a:t>
            </a:r>
          </a:p>
        </p:txBody>
      </p:sp>
      <p:sp>
        <p:nvSpPr>
          <p:cNvPr id="1045" name="Rectangle 1044">
            <a:extLst>
              <a:ext uri="{FF2B5EF4-FFF2-40B4-BE49-F238E27FC236}">
                <a16:creationId xmlns:a16="http://schemas.microsoft.com/office/drawing/2014/main" id="{E26178EF-56FD-ABD4-4923-087AEAFCB0A0}"/>
              </a:ext>
            </a:extLst>
          </p:cNvPr>
          <p:cNvSpPr/>
          <p:nvPr/>
        </p:nvSpPr>
        <p:spPr bwMode="gray">
          <a:xfrm>
            <a:off x="1873118" y="4257264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3</a:t>
            </a:r>
          </a:p>
        </p:txBody>
      </p:sp>
      <p:sp>
        <p:nvSpPr>
          <p:cNvPr id="1047" name="Rectangle 1046">
            <a:extLst>
              <a:ext uri="{FF2B5EF4-FFF2-40B4-BE49-F238E27FC236}">
                <a16:creationId xmlns:a16="http://schemas.microsoft.com/office/drawing/2014/main" id="{70E65D0D-6FA5-9E48-6C15-5BCD2E3B97D2}"/>
              </a:ext>
            </a:extLst>
          </p:cNvPr>
          <p:cNvSpPr/>
          <p:nvPr/>
        </p:nvSpPr>
        <p:spPr bwMode="gray">
          <a:xfrm>
            <a:off x="1539731" y="2574001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C8285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</a:t>
            </a:r>
          </a:p>
        </p:txBody>
      </p:sp>
      <p:sp>
        <p:nvSpPr>
          <p:cNvPr id="1049" name="Rectangle 1048">
            <a:extLst>
              <a:ext uri="{FF2B5EF4-FFF2-40B4-BE49-F238E27FC236}">
                <a16:creationId xmlns:a16="http://schemas.microsoft.com/office/drawing/2014/main" id="{B8A712F3-908E-1169-9F49-E0935CEE8369}"/>
              </a:ext>
            </a:extLst>
          </p:cNvPr>
          <p:cNvSpPr/>
          <p:nvPr/>
        </p:nvSpPr>
        <p:spPr bwMode="gray">
          <a:xfrm>
            <a:off x="3505414" y="4283048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9</a:t>
            </a:r>
          </a:p>
        </p:txBody>
      </p:sp>
      <p:sp>
        <p:nvSpPr>
          <p:cNvPr id="1050" name="Rectangle 1049">
            <a:extLst>
              <a:ext uri="{FF2B5EF4-FFF2-40B4-BE49-F238E27FC236}">
                <a16:creationId xmlns:a16="http://schemas.microsoft.com/office/drawing/2014/main" id="{4BFE55BC-D148-8FAA-1CBE-7831DC229C4A}"/>
              </a:ext>
            </a:extLst>
          </p:cNvPr>
          <p:cNvSpPr/>
          <p:nvPr/>
        </p:nvSpPr>
        <p:spPr bwMode="gray">
          <a:xfrm>
            <a:off x="1218991" y="5260005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4</a:t>
            </a:r>
          </a:p>
        </p:txBody>
      </p:sp>
      <p:sp>
        <p:nvSpPr>
          <p:cNvPr id="1051" name="Rectangle 1050">
            <a:extLst>
              <a:ext uri="{FF2B5EF4-FFF2-40B4-BE49-F238E27FC236}">
                <a16:creationId xmlns:a16="http://schemas.microsoft.com/office/drawing/2014/main" id="{F6D45C3A-D925-EACC-8516-91DD9450655E}"/>
              </a:ext>
            </a:extLst>
          </p:cNvPr>
          <p:cNvSpPr/>
          <p:nvPr/>
        </p:nvSpPr>
        <p:spPr bwMode="gray">
          <a:xfrm>
            <a:off x="6095794" y="5256132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7</a:t>
            </a:r>
          </a:p>
        </p:txBody>
      </p:sp>
      <p:sp>
        <p:nvSpPr>
          <p:cNvPr id="1053" name="Rectangle 1052">
            <a:extLst>
              <a:ext uri="{FF2B5EF4-FFF2-40B4-BE49-F238E27FC236}">
                <a16:creationId xmlns:a16="http://schemas.microsoft.com/office/drawing/2014/main" id="{C10DEADC-BED5-E35D-1A62-2789AFBD3435}"/>
              </a:ext>
            </a:extLst>
          </p:cNvPr>
          <p:cNvSpPr/>
          <p:nvPr/>
        </p:nvSpPr>
        <p:spPr bwMode="gray">
          <a:xfrm>
            <a:off x="8266912" y="4278267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30</a:t>
            </a:r>
          </a:p>
        </p:txBody>
      </p:sp>
      <p:sp>
        <p:nvSpPr>
          <p:cNvPr id="1055" name="Rectangle 1054">
            <a:extLst>
              <a:ext uri="{FF2B5EF4-FFF2-40B4-BE49-F238E27FC236}">
                <a16:creationId xmlns:a16="http://schemas.microsoft.com/office/drawing/2014/main" id="{A60963F4-F65B-2AE7-1154-AAA63F378549}"/>
              </a:ext>
            </a:extLst>
          </p:cNvPr>
          <p:cNvSpPr/>
          <p:nvPr/>
        </p:nvSpPr>
        <p:spPr bwMode="gray">
          <a:xfrm>
            <a:off x="1873118" y="5260005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5</a:t>
            </a:r>
          </a:p>
        </p:txBody>
      </p:sp>
      <p:sp>
        <p:nvSpPr>
          <p:cNvPr id="1057" name="Rectangle 1056">
            <a:extLst>
              <a:ext uri="{FF2B5EF4-FFF2-40B4-BE49-F238E27FC236}">
                <a16:creationId xmlns:a16="http://schemas.microsoft.com/office/drawing/2014/main" id="{2335A18F-CADB-F321-F04E-A464DA59EA7B}"/>
              </a:ext>
            </a:extLst>
          </p:cNvPr>
          <p:cNvSpPr/>
          <p:nvPr/>
        </p:nvSpPr>
        <p:spPr bwMode="gray">
          <a:xfrm>
            <a:off x="5759478" y="4284004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8</a:t>
            </a:r>
          </a:p>
        </p:txBody>
      </p:sp>
      <p:sp>
        <p:nvSpPr>
          <p:cNvPr id="1061" name="Rectangle 1060">
            <a:extLst>
              <a:ext uri="{FF2B5EF4-FFF2-40B4-BE49-F238E27FC236}">
                <a16:creationId xmlns:a16="http://schemas.microsoft.com/office/drawing/2014/main" id="{C2D44D2B-1EC7-320B-CBF4-264CE7E63972}"/>
              </a:ext>
            </a:extLst>
          </p:cNvPr>
          <p:cNvSpPr/>
          <p:nvPr/>
        </p:nvSpPr>
        <p:spPr bwMode="gray">
          <a:xfrm>
            <a:off x="6410217" y="3093290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6</a:t>
            </a:r>
          </a:p>
        </p:txBody>
      </p:sp>
      <p:sp>
        <p:nvSpPr>
          <p:cNvPr id="1063" name="Rectangle 1062">
            <a:extLst>
              <a:ext uri="{FF2B5EF4-FFF2-40B4-BE49-F238E27FC236}">
                <a16:creationId xmlns:a16="http://schemas.microsoft.com/office/drawing/2014/main" id="{B0BAA228-473C-DC4D-3A67-CBDAD6A15097}"/>
              </a:ext>
            </a:extLst>
          </p:cNvPr>
          <p:cNvSpPr/>
          <p:nvPr/>
        </p:nvSpPr>
        <p:spPr bwMode="gray">
          <a:xfrm>
            <a:off x="6410217" y="3395604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0</a:t>
            </a:r>
          </a:p>
        </p:txBody>
      </p:sp>
      <p:sp>
        <p:nvSpPr>
          <p:cNvPr id="1065" name="Rectangle 1064">
            <a:extLst>
              <a:ext uri="{FF2B5EF4-FFF2-40B4-BE49-F238E27FC236}">
                <a16:creationId xmlns:a16="http://schemas.microsoft.com/office/drawing/2014/main" id="{C002B50B-45C2-0A23-606C-AC3D6A6898DB}"/>
              </a:ext>
            </a:extLst>
          </p:cNvPr>
          <p:cNvSpPr/>
          <p:nvPr/>
        </p:nvSpPr>
        <p:spPr bwMode="gray">
          <a:xfrm>
            <a:off x="8579855" y="2574001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8</a:t>
            </a:r>
          </a:p>
        </p:txBody>
      </p:sp>
      <p:sp>
        <p:nvSpPr>
          <p:cNvPr id="1067" name="Rectangle 1066">
            <a:extLst>
              <a:ext uri="{FF2B5EF4-FFF2-40B4-BE49-F238E27FC236}">
                <a16:creationId xmlns:a16="http://schemas.microsoft.com/office/drawing/2014/main" id="{34900104-136F-A773-1A2D-4BD5570BCCF2}"/>
              </a:ext>
            </a:extLst>
          </p:cNvPr>
          <p:cNvSpPr/>
          <p:nvPr/>
        </p:nvSpPr>
        <p:spPr bwMode="gray">
          <a:xfrm>
            <a:off x="8579855" y="3296703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22</a:t>
            </a:r>
          </a:p>
        </p:txBody>
      </p:sp>
      <p:sp>
        <p:nvSpPr>
          <p:cNvPr id="1069" name="Rectangle 1068">
            <a:extLst>
              <a:ext uri="{FF2B5EF4-FFF2-40B4-BE49-F238E27FC236}">
                <a16:creationId xmlns:a16="http://schemas.microsoft.com/office/drawing/2014/main" id="{8FA12239-7CE9-92D5-976A-E9C92BDB5AA6}"/>
              </a:ext>
            </a:extLst>
          </p:cNvPr>
          <p:cNvSpPr/>
          <p:nvPr/>
        </p:nvSpPr>
        <p:spPr bwMode="gray">
          <a:xfrm>
            <a:off x="10432168" y="2574001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4</a:t>
            </a:r>
          </a:p>
        </p:txBody>
      </p:sp>
      <p:sp>
        <p:nvSpPr>
          <p:cNvPr id="1071" name="Rectangle 1070">
            <a:extLst>
              <a:ext uri="{FF2B5EF4-FFF2-40B4-BE49-F238E27FC236}">
                <a16:creationId xmlns:a16="http://schemas.microsoft.com/office/drawing/2014/main" id="{6BD901FC-394A-64FD-4CD6-FA6CA29F9914}"/>
              </a:ext>
            </a:extLst>
          </p:cNvPr>
          <p:cNvSpPr/>
          <p:nvPr/>
        </p:nvSpPr>
        <p:spPr bwMode="gray">
          <a:xfrm>
            <a:off x="4154476" y="3253833"/>
            <a:ext cx="617738" cy="271720"/>
          </a:xfrm>
          <a:prstGeom prst="rect">
            <a:avLst/>
          </a:prstGeom>
          <a:solidFill>
            <a:schemeClr val="bg1"/>
          </a:solidFill>
          <a:ln w="19050" cap="flat" cmpd="sng" algn="ctr">
            <a:solidFill>
              <a:srgbClr val="D6D6D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7</a:t>
            </a:r>
          </a:p>
        </p:txBody>
      </p:sp>
      <p:sp>
        <p:nvSpPr>
          <p:cNvPr id="1073" name="Rectangle 1072">
            <a:extLst>
              <a:ext uri="{FF2B5EF4-FFF2-40B4-BE49-F238E27FC236}">
                <a16:creationId xmlns:a16="http://schemas.microsoft.com/office/drawing/2014/main" id="{D8E7E1D4-395D-1A48-A051-8BD1F691CA89}"/>
              </a:ext>
            </a:extLst>
          </p:cNvPr>
          <p:cNvSpPr/>
          <p:nvPr/>
        </p:nvSpPr>
        <p:spPr bwMode="gray">
          <a:xfrm>
            <a:off x="3505414" y="3253833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1</a:t>
            </a:r>
          </a:p>
        </p:txBody>
      </p:sp>
      <p:sp>
        <p:nvSpPr>
          <p:cNvPr id="1075" name="Rectangle 1074">
            <a:extLst>
              <a:ext uri="{FF2B5EF4-FFF2-40B4-BE49-F238E27FC236}">
                <a16:creationId xmlns:a16="http://schemas.microsoft.com/office/drawing/2014/main" id="{833B5869-0ABF-1D69-FCE9-1B9EDED9A7F4}"/>
              </a:ext>
            </a:extLst>
          </p:cNvPr>
          <p:cNvSpPr/>
          <p:nvPr/>
        </p:nvSpPr>
        <p:spPr bwMode="gray">
          <a:xfrm>
            <a:off x="6410217" y="2574001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9</a:t>
            </a:r>
          </a:p>
        </p:txBody>
      </p:sp>
      <p:sp>
        <p:nvSpPr>
          <p:cNvPr id="1079" name="Rectangle 1078">
            <a:extLst>
              <a:ext uri="{FF2B5EF4-FFF2-40B4-BE49-F238E27FC236}">
                <a16:creationId xmlns:a16="http://schemas.microsoft.com/office/drawing/2014/main" id="{599676C3-DF41-A47D-A666-75F873580A1A}"/>
              </a:ext>
            </a:extLst>
          </p:cNvPr>
          <p:cNvSpPr/>
          <p:nvPr/>
        </p:nvSpPr>
        <p:spPr bwMode="gray">
          <a:xfrm>
            <a:off x="5759478" y="2574001"/>
            <a:ext cx="617738" cy="2717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C15</a:t>
            </a:r>
          </a:p>
        </p:txBody>
      </p:sp>
      <p:grpSp>
        <p:nvGrpSpPr>
          <p:cNvPr id="4" name="btfpStatusSticker352542">
            <a:extLst>
              <a:ext uri="{FF2B5EF4-FFF2-40B4-BE49-F238E27FC236}">
                <a16:creationId xmlns:a16="http://schemas.microsoft.com/office/drawing/2014/main" id="{A0982C09-EA2E-725D-B415-9B37B3EE4174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5" name="btfpStatusStickerText352542">
              <a:extLst>
                <a:ext uri="{FF2B5EF4-FFF2-40B4-BE49-F238E27FC236}">
                  <a16:creationId xmlns:a16="http://schemas.microsoft.com/office/drawing/2014/main" id="{6E0442F6-8ED3-B92F-BA13-F3406A8241D9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6" name="btfpStatusStickerLine352542">
              <a:extLst>
                <a:ext uri="{FF2B5EF4-FFF2-40B4-BE49-F238E27FC236}">
                  <a16:creationId xmlns:a16="http://schemas.microsoft.com/office/drawing/2014/main" id="{547BB8FB-95B8-D7BD-B5D4-903A4DA81F9F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btfpValueChainElement4083192">
            <a:extLst>
              <a:ext uri="{FF2B5EF4-FFF2-40B4-BE49-F238E27FC236}">
                <a16:creationId xmlns:a16="http://schemas.microsoft.com/office/drawing/2014/main" id="{DBF23CD9-2BEE-514B-DEE1-6C0B245FA465}"/>
              </a:ext>
            </a:extLst>
          </p:cNvPr>
          <p:cNvSpPr/>
          <p:nvPr/>
        </p:nvSpPr>
        <p:spPr bwMode="gray">
          <a:xfrm>
            <a:off x="3036100" y="1454150"/>
            <a:ext cx="2232000" cy="508000"/>
          </a:xfrm>
          <a:prstGeom prst="chevron">
            <a:avLst>
              <a:gd name="adj" fmla="val 24348"/>
            </a:avLst>
          </a:prstGeom>
          <a:solidFill>
            <a:srgbClr val="BAB9BA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(minimum Scope 1&amp;2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2ED9F1B-A356-43B3-7AA3-ABFAAB53D979}"/>
              </a:ext>
            </a:extLst>
          </p:cNvPr>
          <p:cNvSpPr/>
          <p:nvPr/>
        </p:nvSpPr>
        <p:spPr bwMode="gray">
          <a:xfrm>
            <a:off x="3034909" y="1962250"/>
            <a:ext cx="2232000" cy="4248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36000" rIns="1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emissions data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16D60F89-2FE1-4730-756E-03A5174EA089}"/>
              </a:ext>
            </a:extLst>
          </p:cNvPr>
          <p:cNvSpPr txBox="1"/>
          <p:nvPr/>
        </p:nvSpPr>
        <p:spPr bwMode="gray">
          <a:xfrm>
            <a:off x="3653407" y="1223821"/>
            <a:ext cx="104569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0000"/>
                </a:solidFill>
                <a:latin typeface="Arial"/>
              </a:rPr>
              <a:t>4</a:t>
            </a: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PortCos</a:t>
            </a:r>
          </a:p>
        </p:txBody>
      </p:sp>
      <p:sp>
        <p:nvSpPr>
          <p:cNvPr id="34" name="btfpValueChainElement4083193">
            <a:extLst>
              <a:ext uri="{FF2B5EF4-FFF2-40B4-BE49-F238E27FC236}">
                <a16:creationId xmlns:a16="http://schemas.microsoft.com/office/drawing/2014/main" id="{FB2F228B-38E0-C2AD-59F2-AA99C546F85D}"/>
              </a:ext>
            </a:extLst>
          </p:cNvPr>
          <p:cNvSpPr/>
          <p:nvPr/>
        </p:nvSpPr>
        <p:spPr bwMode="gray">
          <a:xfrm>
            <a:off x="5234000" y="1454150"/>
            <a:ext cx="2232000" cy="508000"/>
          </a:xfrm>
          <a:prstGeom prst="chevron">
            <a:avLst>
              <a:gd name="adj" fmla="val 24348"/>
            </a:avLst>
          </a:prstGeom>
          <a:solidFill>
            <a:srgbClr val="82AEB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.     (minimum Scope 1&amp;2)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C830038A-8A6E-4240-3622-2C0D83D9DF96}"/>
              </a:ext>
            </a:extLst>
          </p:cNvPr>
          <p:cNvSpPr/>
          <p:nvPr/>
        </p:nvSpPr>
        <p:spPr bwMode="gray">
          <a:xfrm>
            <a:off x="5231618" y="1962250"/>
            <a:ext cx="2232000" cy="42486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000" tIns="36000" rIns="18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to reduce emission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9538CC6-3CB7-9BF0-92F0-8F157B9FAAD1}"/>
              </a:ext>
            </a:extLst>
          </p:cNvPr>
          <p:cNvSpPr txBox="1"/>
          <p:nvPr/>
        </p:nvSpPr>
        <p:spPr bwMode="gray">
          <a:xfrm>
            <a:off x="5897388" y="1223821"/>
            <a:ext cx="1045691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 dirty="0">
                <a:solidFill>
                  <a:srgbClr val="000000"/>
                </a:solidFill>
                <a:latin typeface="Arial"/>
              </a:rPr>
              <a:t>8 PortCos</a:t>
            </a:r>
            <a:endParaRPr kumimoji="0" lang="en-GB" sz="12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btfpRunningAgenda1Level573689">
            <a:extLst>
              <a:ext uri="{FF2B5EF4-FFF2-40B4-BE49-F238E27FC236}">
                <a16:creationId xmlns:a16="http://schemas.microsoft.com/office/drawing/2014/main" id="{A6504398-F16D-8A84-DCEE-FB5DCAA52B44}"/>
              </a:ext>
            </a:extLst>
          </p:cNvPr>
          <p:cNvGrpSpPr/>
          <p:nvPr>
            <p:custDataLst>
              <p:tags r:id="rId4"/>
            </p:custDataLst>
          </p:nvPr>
        </p:nvGrpSpPr>
        <p:grpSpPr>
          <a:xfrm>
            <a:off x="0" y="944429"/>
            <a:ext cx="2436783" cy="257442"/>
            <a:chOff x="0" y="876300"/>
            <a:chExt cx="2436783" cy="257442"/>
          </a:xfrm>
        </p:grpSpPr>
        <p:sp>
          <p:nvSpPr>
            <p:cNvPr id="51" name="btfpRunningAgenda1LevelBarLeft573689">
              <a:extLst>
                <a:ext uri="{FF2B5EF4-FFF2-40B4-BE49-F238E27FC236}">
                  <a16:creationId xmlns:a16="http://schemas.microsoft.com/office/drawing/2014/main" id="{741FC05F-A42A-CEF6-EFB0-ED426BECC25D}"/>
                </a:ext>
              </a:extLst>
            </p:cNvPr>
            <p:cNvSpPr/>
            <p:nvPr/>
          </p:nvSpPr>
          <p:spPr bwMode="gray">
            <a:xfrm>
              <a:off x="0" y="876300"/>
              <a:ext cx="2436783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870925 w 1870925"/>
                <a:gd name="connsiteY0" fmla="*/ 0 h 257442"/>
                <a:gd name="connsiteX1" fmla="*/ 16559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1870925 w 1870925"/>
                <a:gd name="connsiteY0" fmla="*/ 0 h 257442"/>
                <a:gd name="connsiteX1" fmla="*/ 1816204 w 1870925"/>
                <a:gd name="connsiteY1" fmla="*/ 257442 h 257442"/>
                <a:gd name="connsiteX2" fmla="*/ 0 w 1870925"/>
                <a:gd name="connsiteY2" fmla="*/ 257442 h 257442"/>
                <a:gd name="connsiteX3" fmla="*/ 0 w 1870925"/>
                <a:gd name="connsiteY3" fmla="*/ 0 h 257442"/>
                <a:gd name="connsiteX0" fmla="*/ 2140229 w 2140229"/>
                <a:gd name="connsiteY0" fmla="*/ 0 h 257442"/>
                <a:gd name="connsiteX1" fmla="*/ 1816204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140229 w 2140229"/>
                <a:gd name="connsiteY0" fmla="*/ 0 h 257442"/>
                <a:gd name="connsiteX1" fmla="*/ 2085508 w 2140229"/>
                <a:gd name="connsiteY1" fmla="*/ 257442 h 257442"/>
                <a:gd name="connsiteX2" fmla="*/ 0 w 2140229"/>
                <a:gd name="connsiteY2" fmla="*/ 257442 h 257442"/>
                <a:gd name="connsiteX3" fmla="*/ 0 w 2140229"/>
                <a:gd name="connsiteY3" fmla="*/ 0 h 257442"/>
                <a:gd name="connsiteX0" fmla="*/ 2318162 w 2318162"/>
                <a:gd name="connsiteY0" fmla="*/ 0 h 257442"/>
                <a:gd name="connsiteX1" fmla="*/ 2085508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2 w 2318162"/>
                <a:gd name="connsiteY0" fmla="*/ 0 h 257442"/>
                <a:gd name="connsiteX1" fmla="*/ 2263440 w 2318162"/>
                <a:gd name="connsiteY1" fmla="*/ 257442 h 257442"/>
                <a:gd name="connsiteX2" fmla="*/ 0 w 2318162"/>
                <a:gd name="connsiteY2" fmla="*/ 257442 h 257442"/>
                <a:gd name="connsiteX3" fmla="*/ 0 w 2318162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318163 w 2318163"/>
                <a:gd name="connsiteY0" fmla="*/ 0 h 257442"/>
                <a:gd name="connsiteX1" fmla="*/ 2263441 w 2318163"/>
                <a:gd name="connsiteY1" fmla="*/ 257442 h 257442"/>
                <a:gd name="connsiteX2" fmla="*/ 0 w 2318163"/>
                <a:gd name="connsiteY2" fmla="*/ 257442 h 257442"/>
                <a:gd name="connsiteX3" fmla="*/ 1 w 2318163"/>
                <a:gd name="connsiteY3" fmla="*/ 0 h 257442"/>
                <a:gd name="connsiteX0" fmla="*/ 2630749 w 2630749"/>
                <a:gd name="connsiteY0" fmla="*/ 0 h 257442"/>
                <a:gd name="connsiteX1" fmla="*/ 2263441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  <a:gd name="connsiteX0" fmla="*/ 2630749 w 2630749"/>
                <a:gd name="connsiteY0" fmla="*/ 0 h 257442"/>
                <a:gd name="connsiteX1" fmla="*/ 2576028 w 2630749"/>
                <a:gd name="connsiteY1" fmla="*/ 257442 h 257442"/>
                <a:gd name="connsiteX2" fmla="*/ 0 w 2630749"/>
                <a:gd name="connsiteY2" fmla="*/ 257442 h 257442"/>
                <a:gd name="connsiteX3" fmla="*/ 1 w 2630749"/>
                <a:gd name="connsiteY3" fmla="*/ 0 h 257442"/>
                <a:gd name="connsiteX0" fmla="*/ 2630748 w 2630748"/>
                <a:gd name="connsiteY0" fmla="*/ 0 h 257442"/>
                <a:gd name="connsiteX1" fmla="*/ 2576027 w 2630748"/>
                <a:gd name="connsiteY1" fmla="*/ 257442 h 257442"/>
                <a:gd name="connsiteX2" fmla="*/ 0 w 2630748"/>
                <a:gd name="connsiteY2" fmla="*/ 257442 h 257442"/>
                <a:gd name="connsiteX3" fmla="*/ 0 w 2630748"/>
                <a:gd name="connsiteY3" fmla="*/ 0 h 257442"/>
                <a:gd name="connsiteX0" fmla="*/ 2630749 w 2630749"/>
                <a:gd name="connsiteY0" fmla="*/ 0 h 257442"/>
                <a:gd name="connsiteX1" fmla="*/ 2576028 w 2630749"/>
                <a:gd name="connsiteY1" fmla="*/ 257442 h 257442"/>
                <a:gd name="connsiteX2" fmla="*/ 1 w 2630749"/>
                <a:gd name="connsiteY2" fmla="*/ 257442 h 257442"/>
                <a:gd name="connsiteX3" fmla="*/ 0 w 2630749"/>
                <a:gd name="connsiteY3" fmla="*/ 0 h 257442"/>
                <a:gd name="connsiteX0" fmla="*/ 2436785 w 2576028"/>
                <a:gd name="connsiteY0" fmla="*/ 0 h 257442"/>
                <a:gd name="connsiteX1" fmla="*/ 2576028 w 2576028"/>
                <a:gd name="connsiteY1" fmla="*/ 257442 h 257442"/>
                <a:gd name="connsiteX2" fmla="*/ 1 w 2576028"/>
                <a:gd name="connsiteY2" fmla="*/ 257442 h 257442"/>
                <a:gd name="connsiteX3" fmla="*/ 0 w 2576028"/>
                <a:gd name="connsiteY3" fmla="*/ 0 h 257442"/>
                <a:gd name="connsiteX0" fmla="*/ 2436785 w 2436785"/>
                <a:gd name="connsiteY0" fmla="*/ 0 h 257442"/>
                <a:gd name="connsiteX1" fmla="*/ 2382064 w 2436785"/>
                <a:gd name="connsiteY1" fmla="*/ 257442 h 257442"/>
                <a:gd name="connsiteX2" fmla="*/ 1 w 2436785"/>
                <a:gd name="connsiteY2" fmla="*/ 257442 h 257442"/>
                <a:gd name="connsiteX3" fmla="*/ 0 w 2436785"/>
                <a:gd name="connsiteY3" fmla="*/ 0 h 257442"/>
                <a:gd name="connsiteX0" fmla="*/ 2436785 w 2436785"/>
                <a:gd name="connsiteY0" fmla="*/ 0 h 257442"/>
                <a:gd name="connsiteX1" fmla="*/ 2382064 w 2436785"/>
                <a:gd name="connsiteY1" fmla="*/ 257442 h 257442"/>
                <a:gd name="connsiteX2" fmla="*/ 2 w 2436785"/>
                <a:gd name="connsiteY2" fmla="*/ 257442 h 257442"/>
                <a:gd name="connsiteX3" fmla="*/ 0 w 2436785"/>
                <a:gd name="connsiteY3" fmla="*/ 0 h 257442"/>
                <a:gd name="connsiteX0" fmla="*/ 2436783 w 2436783"/>
                <a:gd name="connsiteY0" fmla="*/ 0 h 257442"/>
                <a:gd name="connsiteX1" fmla="*/ 2382062 w 2436783"/>
                <a:gd name="connsiteY1" fmla="*/ 257442 h 257442"/>
                <a:gd name="connsiteX2" fmla="*/ 0 w 2436783"/>
                <a:gd name="connsiteY2" fmla="*/ 257442 h 257442"/>
                <a:gd name="connsiteX3" fmla="*/ 0 w 2436783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6783" h="257442">
                  <a:moveTo>
                    <a:pt x="2436783" y="0"/>
                  </a:moveTo>
                  <a:lnTo>
                    <a:pt x="2382062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55" name="btfpRunningAgenda1LevelTextLeft573689">
              <a:extLst>
                <a:ext uri="{FF2B5EF4-FFF2-40B4-BE49-F238E27FC236}">
                  <a16:creationId xmlns:a16="http://schemas.microsoft.com/office/drawing/2014/main" id="{58EA98F1-47FD-D63C-E3DC-808883336589}"/>
                </a:ext>
              </a:extLst>
            </p:cNvPr>
            <p:cNvSpPr txBox="1"/>
            <p:nvPr/>
          </p:nvSpPr>
          <p:spPr bwMode="gray">
            <a:xfrm>
              <a:off x="0" y="876300"/>
              <a:ext cx="238206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Single-view</a:t>
              </a:r>
            </a:p>
          </p:txBody>
        </p:sp>
      </p:grpSp>
      <p:sp>
        <p:nvSpPr>
          <p:cNvPr id="1026" name="Oval 1025">
            <a:extLst>
              <a:ext uri="{FF2B5EF4-FFF2-40B4-BE49-F238E27FC236}">
                <a16:creationId xmlns:a16="http://schemas.microsoft.com/office/drawing/2014/main" id="{13EA8C84-C600-8353-60E5-7DE7FF74D836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6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081AA30-CDD6-4335-C1A4-AC0FB85A6598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25" name="btfpBulletedList446394">
            <a:extLst>
              <a:ext uri="{FF2B5EF4-FFF2-40B4-BE49-F238E27FC236}">
                <a16:creationId xmlns:a16="http://schemas.microsoft.com/office/drawing/2014/main" id="{1E16C514-67B1-4F93-83AD-6B15DF173E36}"/>
              </a:ext>
            </a:extLst>
          </p:cNvPr>
          <p:cNvSpPr/>
          <p:nvPr/>
        </p:nvSpPr>
        <p:spPr bwMode="gray">
          <a:xfrm>
            <a:off x="8954100" y="0"/>
            <a:ext cx="3237900" cy="275579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Alignment Scale top headers to adjust to </a:t>
            </a:r>
            <a:r>
              <a:rPr lang="en-US" sz="1200" dirty="0">
                <a:solidFill>
                  <a:srgbClr val="000000"/>
                </a:solidFill>
              </a:rPr>
              <a:t>number of PortCos by Alignment Scale stage</a:t>
            </a:r>
            <a:endParaRPr lang="en-GB" sz="120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legend to indicate emissions thresholds selected in PMDR Support Tool output tab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place PortCo placeholders (boxes) with PortCo logos / names as indicated in PMDR Support Tool output tab (incl. formatting adjustments for “Decarb. Enabler”- &amp; “No current pathway to Align”- label)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9" name="btfpNotesBox530799">
            <a:extLst>
              <a:ext uri="{FF2B5EF4-FFF2-40B4-BE49-F238E27FC236}">
                <a16:creationId xmlns:a16="http://schemas.microsoft.com/office/drawing/2014/main" id="{0591EADE-08F1-E918-D922-72AE33369DEE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Financed emissions and invested capital of PortCos present in different funds aggregat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389348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3B6189F4-4A23-C940-D458-658D117538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4360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3" imgW="606" imgH="608" progId="TCLayout.ActiveDocument.1">
                  <p:embed/>
                </p:oleObj>
              </mc:Choice>
              <mc:Fallback>
                <p:oleObj name="think-cell Slide" r:id="rId43" imgW="606" imgH="608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B6189F4-4A23-C940-D458-658D117538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8" name="Rectangle 277">
            <a:extLst>
              <a:ext uri="{FF2B5EF4-FFF2-40B4-BE49-F238E27FC236}">
                <a16:creationId xmlns:a16="http://schemas.microsoft.com/office/drawing/2014/main" id="{2F1D1A17-3867-D96E-4AB3-BA0BDCF29ABE}"/>
              </a:ext>
            </a:extLst>
          </p:cNvPr>
          <p:cNvSpPr/>
          <p:nvPr/>
        </p:nvSpPr>
        <p:spPr bwMode="gray">
          <a:xfrm>
            <a:off x="993710" y="3509926"/>
            <a:ext cx="4814453" cy="1811691"/>
          </a:xfrm>
          <a:prstGeom prst="rect">
            <a:avLst/>
          </a:prstGeom>
          <a:solidFill>
            <a:schemeClr val="accent3">
              <a:lumMod val="40000"/>
              <a:lumOff val="60000"/>
              <a:alpha val="25000"/>
            </a:schemeClr>
          </a:solidFill>
          <a:ln w="9525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279" name="Rectangle 278">
            <a:extLst>
              <a:ext uri="{FF2B5EF4-FFF2-40B4-BE49-F238E27FC236}">
                <a16:creationId xmlns:a16="http://schemas.microsoft.com/office/drawing/2014/main" id="{2F013112-F22F-910B-5F7A-DE58308C7ECD}"/>
              </a:ext>
            </a:extLst>
          </p:cNvPr>
          <p:cNvSpPr/>
          <p:nvPr/>
        </p:nvSpPr>
        <p:spPr bwMode="gray">
          <a:xfrm>
            <a:off x="5852446" y="3509926"/>
            <a:ext cx="4814453" cy="1811691"/>
          </a:xfrm>
          <a:prstGeom prst="rect">
            <a:avLst/>
          </a:prstGeom>
          <a:solidFill>
            <a:srgbClr val="E9CD49">
              <a:alpha val="2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80" name="Rectangle 279">
            <a:extLst>
              <a:ext uri="{FF2B5EF4-FFF2-40B4-BE49-F238E27FC236}">
                <a16:creationId xmlns:a16="http://schemas.microsoft.com/office/drawing/2014/main" id="{E39B46DA-BDE6-8F9B-387A-875737CB934A}"/>
              </a:ext>
            </a:extLst>
          </p:cNvPr>
          <p:cNvSpPr/>
          <p:nvPr/>
        </p:nvSpPr>
        <p:spPr bwMode="gray">
          <a:xfrm>
            <a:off x="993710" y="1645218"/>
            <a:ext cx="4814453" cy="1811691"/>
          </a:xfrm>
          <a:prstGeom prst="rect">
            <a:avLst/>
          </a:prstGeom>
          <a:solidFill>
            <a:srgbClr val="E9CD49">
              <a:alpha val="2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81" name="Rectangle 280">
            <a:extLst>
              <a:ext uri="{FF2B5EF4-FFF2-40B4-BE49-F238E27FC236}">
                <a16:creationId xmlns:a16="http://schemas.microsoft.com/office/drawing/2014/main" id="{1ACCE49B-4AD9-E327-C7DC-9B5DCAC73A60}"/>
              </a:ext>
            </a:extLst>
          </p:cNvPr>
          <p:cNvSpPr/>
          <p:nvPr/>
        </p:nvSpPr>
        <p:spPr bwMode="gray">
          <a:xfrm>
            <a:off x="5858050" y="1645218"/>
            <a:ext cx="4814453" cy="1811691"/>
          </a:xfrm>
          <a:prstGeom prst="rect">
            <a:avLst/>
          </a:prstGeom>
          <a:solidFill>
            <a:srgbClr val="83AC9A">
              <a:alpha val="2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>
              <a:solidFill>
                <a:srgbClr val="FFFFFF"/>
              </a:solidFill>
            </a:endParaRPr>
          </a:p>
        </p:txBody>
      </p:sp>
      <p:grpSp>
        <p:nvGrpSpPr>
          <p:cNvPr id="196" name="btfpColumnIndicatorGroup2">
            <a:extLst>
              <a:ext uri="{FF2B5EF4-FFF2-40B4-BE49-F238E27FC236}">
                <a16:creationId xmlns:a16="http://schemas.microsoft.com/office/drawing/2014/main" id="{061F747E-14AB-7206-8698-E7EC33DA3A3D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194" name="btfpColumnGapBlocker867413">
              <a:extLst>
                <a:ext uri="{FF2B5EF4-FFF2-40B4-BE49-F238E27FC236}">
                  <a16:creationId xmlns:a16="http://schemas.microsoft.com/office/drawing/2014/main" id="{EE738927-BC33-FDF1-CA78-136F0016AF11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92" name="btfpColumnGapBlocker443299">
              <a:extLst>
                <a:ext uri="{FF2B5EF4-FFF2-40B4-BE49-F238E27FC236}">
                  <a16:creationId xmlns:a16="http://schemas.microsoft.com/office/drawing/2014/main" id="{BCD9114E-693A-0C9A-1603-282556E6457F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190" name="btfpColumnIndicator596610">
              <a:extLst>
                <a:ext uri="{FF2B5EF4-FFF2-40B4-BE49-F238E27FC236}">
                  <a16:creationId xmlns:a16="http://schemas.microsoft.com/office/drawing/2014/main" id="{DCB5629C-500A-7005-84E4-B33C1E2B979E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8" name="btfpColumnIndicator979933">
              <a:extLst>
                <a:ext uri="{FF2B5EF4-FFF2-40B4-BE49-F238E27FC236}">
                  <a16:creationId xmlns:a16="http://schemas.microsoft.com/office/drawing/2014/main" id="{3BBB3081-A174-212F-0C4D-9E137DD4122B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95" name="btfpColumnIndicatorGroup1">
            <a:extLst>
              <a:ext uri="{FF2B5EF4-FFF2-40B4-BE49-F238E27FC236}">
                <a16:creationId xmlns:a16="http://schemas.microsoft.com/office/drawing/2014/main" id="{E84F253D-B85E-9EDE-93D8-E74B86864216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193" name="btfpColumnGapBlocker826074">
              <a:extLst>
                <a:ext uri="{FF2B5EF4-FFF2-40B4-BE49-F238E27FC236}">
                  <a16:creationId xmlns:a16="http://schemas.microsoft.com/office/drawing/2014/main" id="{9E1D479D-2F46-AC4E-C547-CEA2822ADC2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191" name="btfpColumnGapBlocker305827">
              <a:extLst>
                <a:ext uri="{FF2B5EF4-FFF2-40B4-BE49-F238E27FC236}">
                  <a16:creationId xmlns:a16="http://schemas.microsoft.com/office/drawing/2014/main" id="{90FA5FA7-9C81-6D2E-722D-9F4AC6C1E5B9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189" name="btfpColumnIndicator234935">
              <a:extLst>
                <a:ext uri="{FF2B5EF4-FFF2-40B4-BE49-F238E27FC236}">
                  <a16:creationId xmlns:a16="http://schemas.microsoft.com/office/drawing/2014/main" id="{43F8D553-05BE-737E-163B-9A9653EE70DC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7" name="btfpColumnIndicator965781">
              <a:extLst>
                <a:ext uri="{FF2B5EF4-FFF2-40B4-BE49-F238E27FC236}">
                  <a16:creationId xmlns:a16="http://schemas.microsoft.com/office/drawing/2014/main" id="{0CA7FC20-F7F1-3F6E-A9F6-67659229A53C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483DC67-886C-D494-2C17-F8BA2CBFCDDB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89799675"/>
              </p:ext>
            </p:extLst>
          </p:nvPr>
        </p:nvGraphicFramePr>
        <p:xfrm>
          <a:off x="863600" y="1582738"/>
          <a:ext cx="9894888" cy="3878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5"/>
          </a:graphicData>
        </a:graphic>
      </p:graphicFrame>
      <p:sp>
        <p:nvSpPr>
          <p:cNvPr id="49" name="Text Placeholder">
            <a:extLst>
              <a:ext uri="{FF2B5EF4-FFF2-40B4-BE49-F238E27FC236}">
                <a16:creationId xmlns:a16="http://schemas.microsoft.com/office/drawing/2014/main" id="{593B402C-DCBD-264E-133B-B04AB3E8673C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7391400" y="54689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35EE61-602E-4720-BF30-87F151974532}" type="datetime'''''''''''''''''''''''''''''''4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0" name="Text Placeholder">
            <a:extLst>
              <a:ext uri="{FF2B5EF4-FFF2-40B4-BE49-F238E27FC236}">
                <a16:creationId xmlns:a16="http://schemas.microsoft.com/office/drawing/2014/main" id="{8367BC7A-FAE6-9DBA-99BE-B03B9E4061E0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770563" y="54689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2F9368E-FD7D-45BB-B2CA-2443223C272A}" type="datetime'''''''''''''''''''''''''''''''''''''''''6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1" name="Text Placeholder">
            <a:extLst>
              <a:ext uri="{FF2B5EF4-FFF2-40B4-BE49-F238E27FC236}">
                <a16:creationId xmlns:a16="http://schemas.microsoft.com/office/drawing/2014/main" id="{60838DBB-639D-329D-0010-C4DACD7C836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4148138" y="54689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600D72-C1BA-4F79-805F-BDE2E9B74CB3}" type="datetime'''''''''''''''''''''8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2" name="Text Placeholder">
            <a:extLst>
              <a:ext uri="{FF2B5EF4-FFF2-40B4-BE49-F238E27FC236}">
                <a16:creationId xmlns:a16="http://schemas.microsoft.com/office/drawing/2014/main" id="{81AB00D7-F115-2AAD-7206-6E8CF7A2F575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484438" y="54689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84673E-1387-4918-A58F-649B7135D70F}" type="datetime'''''''''''''10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3" name="Text Placeholder">
            <a:extLst>
              <a:ext uri="{FF2B5EF4-FFF2-40B4-BE49-F238E27FC236}">
                <a16:creationId xmlns:a16="http://schemas.microsoft.com/office/drawing/2014/main" id="{F11548FF-204B-B2C0-0D3B-D23FFCBC6C6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62013" y="54689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4ACC600-0FE2-4BBD-8063-6530ECA09ACF}" type="datetime'''''''''1''''''''''''''2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" name="Text Placeholder">
            <a:extLst>
              <a:ext uri="{FF2B5EF4-FFF2-40B4-BE49-F238E27FC236}">
                <a16:creationId xmlns:a16="http://schemas.microsoft.com/office/drawing/2014/main" id="{B3065FEF-9C70-9F3C-88C3-FF82E21DB4B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9013825" y="54689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8F935A-90DD-4901-A2EA-216C77359326}" type="datetime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97E91850-405D-2312-51D7-1582E7F319F9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09613" y="527685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9CBBA9A-DA64-4A78-82C9-4D9BCD911BAD}" type="datetime'''0''''''''''''''''''''''''''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6" name="Text Placeholder">
            <a:extLst>
              <a:ext uri="{FF2B5EF4-FFF2-40B4-BE49-F238E27FC236}">
                <a16:creationId xmlns:a16="http://schemas.microsoft.com/office/drawing/2014/main" id="{8E9AEFAD-0E50-AA8E-C025-972572628E38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30200" y="4537075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CEB8B67-FFAA-44B6-84C2-BFBE2D681E17}" type="datetime'1''''''''''0'''''''''''''',''''''0''00''''''''''''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5" name="Text Placeholder">
            <a:extLst>
              <a:ext uri="{FF2B5EF4-FFF2-40B4-BE49-F238E27FC236}">
                <a16:creationId xmlns:a16="http://schemas.microsoft.com/office/drawing/2014/main" id="{08FD657E-9EAF-F6BB-3CC9-0E47258DEFD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30200" y="3795713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14F9557-FAA4-4189-84F0-68B816A0AA12}" type="datetime'''''''''2''''''''''0'',''''''''''''''0''''''00'''''''''''''">
              <a:rPr lang="en-GB" altLang="en-US" sz="1200" smtClean="0">
                <a:solidFill>
                  <a:srgbClr val="000000"/>
                </a:solidFill>
              </a:rPr>
              <a:pPr/>
              <a:t>2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8" name="Text Placeholder">
            <a:extLst>
              <a:ext uri="{FF2B5EF4-FFF2-40B4-BE49-F238E27FC236}">
                <a16:creationId xmlns:a16="http://schemas.microsoft.com/office/drawing/2014/main" id="{807BD1E2-16CB-D0CC-F34F-5A85DE7793C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30200" y="305593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A6100B7E-5768-4EE4-840F-EF01AE43D749}" type="datetime'''''''''3''''''''''''''''0'''',''0''''00'''">
              <a:rPr lang="en-GB" altLang="en-US" sz="1200" smtClean="0">
                <a:solidFill>
                  <a:srgbClr val="000000"/>
                </a:solidFill>
              </a:rPr>
              <a:pPr/>
              <a:t>3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7" name="Text Placeholder">
            <a:extLst>
              <a:ext uri="{FF2B5EF4-FFF2-40B4-BE49-F238E27FC236}">
                <a16:creationId xmlns:a16="http://schemas.microsoft.com/office/drawing/2014/main" id="{536912CD-6E0B-D291-3B1F-8EAB4280DC2C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30200" y="2314575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669A8E5-B88B-46F0-B281-584E3103EB37}" type="datetime'''''4''0'''''''''''',0''''''0''''''''''''''''''''0'''''''''">
              <a:rPr lang="en-GB" altLang="en-US" sz="1200" smtClean="0">
                <a:solidFill>
                  <a:srgbClr val="000000"/>
                </a:solidFill>
              </a:rPr>
              <a:pPr/>
              <a:t>4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59" name="Text Placeholder">
            <a:extLst>
              <a:ext uri="{FF2B5EF4-FFF2-40B4-BE49-F238E27FC236}">
                <a16:creationId xmlns:a16="http://schemas.microsoft.com/office/drawing/2014/main" id="{7A973181-74D8-284A-546A-EA65DE9C0ED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30200" y="1574800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BE38D76-77D4-4CEC-AA01-4B46A19925E3}" type="datetime'''5''''''''''''0'''''''',''''''''''''''''''00''''''''''''''0'">
              <a:rPr lang="en-GB" altLang="en-US" sz="1200" smtClean="0">
                <a:solidFill>
                  <a:srgbClr val="000000"/>
                </a:solidFill>
              </a:rPr>
              <a:pPr/>
              <a:t>5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1C04896F-91B5-1D1C-8292-4E601B67D816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4733925" y="5773738"/>
            <a:ext cx="21526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EBE05C-055C-4459-ABE0-4151C6A13D7A}" type="datetime'''''Vin''''ta''g''e: Ye''ars ''since inve''s''''tme''''''n''t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Vintage: Years since investment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" name="Text Placeholder">
            <a:extLst>
              <a:ext uri="{FF2B5EF4-FFF2-40B4-BE49-F238E27FC236}">
                <a16:creationId xmlns:a16="http://schemas.microsoft.com/office/drawing/2014/main" id="{349F28C1-5792-7B57-6754-30EE61C18B38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330201" y="1270000"/>
            <a:ext cx="2619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1CA8B43-7948-4419-90A0-042D3C52AE85}" type="datetime'''Financed emi''s''sions as ''''''''o''f'' 2''023, t''CO2''e'">
              <a:rPr lang="en-US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Financed emissions as of 2023, tCO2e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D9C14CF4-CA83-9063-7E46-4A77AF140F3C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476750" y="49069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84A5C61-BA37-4EC1-9246-7C03B717AE2F}" type="datetime'P''''''''o''''''''rt''''''''''''''''''''''''''C''o ''''1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9" name="Text Placeholder">
            <a:extLst>
              <a:ext uri="{FF2B5EF4-FFF2-40B4-BE49-F238E27FC236}">
                <a16:creationId xmlns:a16="http://schemas.microsoft.com/office/drawing/2014/main" id="{D7DD0875-5B45-08EE-12A9-3FE856A1416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055938" y="42418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A529898-97E8-4D7B-B480-8E54F3D0A1B1}" type="datetime'''''P''''o''''''''''''r''''''''''''t''''''''C''o ''''2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E6697C73-1F15-6B66-661B-8082CE7E1E75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055938" y="4737100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FEE40CD-A35C-45BD-9EBE-D53C5F434384}" type="datetime'''''P''''''o''''''''''''''''''r''tCo'' ''4''''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AE33E8B6-0CD9-5DAC-4DD5-B40D412ABD61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6107113" y="50577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F038E14C-FE40-4B64-9D68-F542AE2BAF70}" type="datetime'''''''''P''''''''''''''''''''''''ortC''''''o'''''''' 5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E643E308-B44D-3DC1-D08D-F822A3DDDB2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3867150" y="231457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6315A2E-5526-4DB2-A40D-3B43891794C6}" type="datetime'''''P''''''''''''''''o''r''''t''''''''''''C''''''o 6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494959F2-629C-948A-7D58-818391C37DE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3867150" y="4351338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5C5C5C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486E4A0-55B4-432C-8909-DD2B933B177E}" type="datetime'''''''''''''''''''''P''''''o''''''''rt''''C''''''''''o ''7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4CE835C8-F161-272B-1C94-55C38C541E1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678363" y="3979863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97B2747-9E69-433B-947F-BDE47509786B}" type="datetime'''Po''rt''''''Co'''''''''''''''''''''''''''''''''''''' ''8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71213A6D-CB54-E614-BAC2-85557689D24B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489575" y="4284663"/>
            <a:ext cx="644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08F9C2E-2409-4ACD-B1E7-34CF4C545EF4}" type="datetime'P''o''''''''''''''''r''t''''''C''''''o'' ''''''''''9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1079A086-387C-D318-0455-73B6014C0F51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257925" y="401796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C4DAAF1-2C01-44B6-9A00-99E8B4FA4695}" type="datetime'''''''''P''''or''''''''''''''''''t''Co'''''''''''' 10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DDC052CC-9ECD-3A1A-AE21-AC181CBA8C79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7885113" y="3425825"/>
            <a:ext cx="717550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81E920-F659-4487-8AD6-E31447788558}" type="datetime'P''o''r''''''''t''''''''''Co'''' 1''''''''''''''''''''1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FC68DE12-5E55-30F9-F202-36E9C2B8EF7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7797800" y="517207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837A7A0-2751-4BBB-9843-CB12A59F26AD}" type="datetime'P''''''''''''''''ort''''''''C''''o'' ''1''''''''''2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F75DCFA4-78B9-1D50-AA9C-0203CF5223F4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7880350" y="231457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9F12B6-41E8-47B4-B96B-8CF904C5163B}" type="datetime'Po''r''''''t''''''C''''''''o'''' ''13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C44DF06D-7829-0864-A039-997BE58CE966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7069138" y="268605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D475A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79841E4-A163-4D1C-B2D7-676F9EA785AE}" type="datetime'P''''''''or''tC''''o'''''''''''''''''''''''''' ''1''''4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4" name="Text Placeholder">
            <a:extLst>
              <a:ext uri="{FF2B5EF4-FFF2-40B4-BE49-F238E27FC236}">
                <a16:creationId xmlns:a16="http://schemas.microsoft.com/office/drawing/2014/main" id="{E4CA78A2-76D3-259D-A3B4-034DE4D0286D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7069138" y="434340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858585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473B20-75D2-48B0-B876-915D58945C14}" type="datetime'''''''''''''''Po''''''r''tC''''''''o'''''''''''' ''''1''''''5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5" name="Text Placeholder">
            <a:extLst>
              <a:ext uri="{FF2B5EF4-FFF2-40B4-BE49-F238E27FC236}">
                <a16:creationId xmlns:a16="http://schemas.microsoft.com/office/drawing/2014/main" id="{EABCF3C2-2518-D060-B2DF-38956A920F3C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9096375" y="2051050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3D57C63-0D5E-4E64-AA7D-6F02B8671157}" type="datetime'''''P''o''''''''''r''''''''''t''''''''C''''o ''''''16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6" name="Text Placeholder">
            <a:extLst>
              <a:ext uri="{FF2B5EF4-FFF2-40B4-BE49-F238E27FC236}">
                <a16:creationId xmlns:a16="http://schemas.microsoft.com/office/drawing/2014/main" id="{C484E3C6-E1C3-8394-C732-CCDD7C0898B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691563" y="4017963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280D461-227A-4B55-982D-C9EF510B749D}" type="datetime'''''P''''''''''''o''''r''t''Co ''''''1''7''''''''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1BB9002B-E4E0-8618-7A2D-EED007E3679D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9501188" y="4537075"/>
            <a:ext cx="7286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A3B0F90-5263-44E0-B401-45F6A792840B}" type="datetime'''Po''''''r''''''''''tCo'''''''''''''''''''' ''1''''8'">
              <a:rPr lang="en-GB" altLang="en-US" sz="1200" smtClean="0">
                <a:solidFill>
                  <a:srgbClr val="FFFFFF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PortCo 18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750C0972-29A7-07AC-33D3-D74BBD168ADB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2000250" y="4873625"/>
            <a:ext cx="644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333333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8DAA909-76FF-4923-AC66-4740DCB45B06}" type="datetime'''''''''''P''''''or''t''''''''''''''C''''''o'''''''' ''''''3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PortCo 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444BB3D5-14CC-6409-BEDB-80637F74CF1F}"/>
              </a:ext>
            </a:extLst>
          </p:cNvPr>
          <p:cNvSpPr/>
          <p:nvPr>
            <p:custDataLst>
              <p:tags r:id="rId36"/>
            </p:custDataLst>
          </p:nvPr>
        </p:nvSpPr>
        <p:spPr bwMode="auto">
          <a:xfrm>
            <a:off x="10756900" y="4537075"/>
            <a:ext cx="822325" cy="822325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3947A830-588C-0BEA-8EE5-4D7C6FE4CB59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1634788" y="4849813"/>
            <a:ext cx="2952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401FA80A-A983-4E32-89E5-EFA2810FC750}" type="datetime'''''''''''''''''''''2''''''''''''''''0''''''''''''0'''''''''">
              <a:rPr lang="en-GB" altLang="en-US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200</a:t>
            </a:fld>
            <a:endParaRPr lang="en-GB" dirty="0">
              <a:solidFill>
                <a:srgbClr val="000000"/>
              </a:solidFill>
            </a:endParaRPr>
          </a:p>
        </p:txBody>
      </p:sp>
      <p:grpSp>
        <p:nvGrpSpPr>
          <p:cNvPr id="170" name="btfpStatusSticker352542">
            <a:extLst>
              <a:ext uri="{FF2B5EF4-FFF2-40B4-BE49-F238E27FC236}">
                <a16:creationId xmlns:a16="http://schemas.microsoft.com/office/drawing/2014/main" id="{76AB2CC7-5873-84AD-9FE9-850814AF3840}"/>
              </a:ext>
            </a:extLst>
          </p:cNvPr>
          <p:cNvGrpSpPr/>
          <p:nvPr>
            <p:custDataLst>
              <p:tags r:id="rId38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171" name="btfpStatusStickerText352542">
              <a:extLst>
                <a:ext uri="{FF2B5EF4-FFF2-40B4-BE49-F238E27FC236}">
                  <a16:creationId xmlns:a16="http://schemas.microsoft.com/office/drawing/2014/main" id="{9F49919F-E1A4-EE33-BB97-A4C910D0B9C4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172" name="btfpStatusStickerLine352542">
              <a:extLst>
                <a:ext uri="{FF2B5EF4-FFF2-40B4-BE49-F238E27FC236}">
                  <a16:creationId xmlns:a16="http://schemas.microsoft.com/office/drawing/2014/main" id="{5D0D9159-529E-79DA-239F-8BC8D4173405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84" name="Rectangle 183">
            <a:extLst>
              <a:ext uri="{FF2B5EF4-FFF2-40B4-BE49-F238E27FC236}">
                <a16:creationId xmlns:a16="http://schemas.microsoft.com/office/drawing/2014/main" id="{7D2A9305-C902-2F82-98B8-69520E8478A6}"/>
              </a:ext>
            </a:extLst>
          </p:cNvPr>
          <p:cNvSpPr/>
          <p:nvPr/>
        </p:nvSpPr>
        <p:spPr bwMode="gray">
          <a:xfrm>
            <a:off x="10706767" y="4157846"/>
            <a:ext cx="914400" cy="320492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dirty="0">
                <a:solidFill>
                  <a:schemeClr val="tx1"/>
                </a:solidFill>
              </a:rPr>
              <a:t>Invested capital ($m)</a:t>
            </a:r>
          </a:p>
        </p:txBody>
      </p:sp>
      <p:sp>
        <p:nvSpPr>
          <p:cNvPr id="263" name="Rectangle 262">
            <a:extLst>
              <a:ext uri="{FF2B5EF4-FFF2-40B4-BE49-F238E27FC236}">
                <a16:creationId xmlns:a16="http://schemas.microsoft.com/office/drawing/2014/main" id="{8BFA6114-D14A-2EC5-FF9D-5ACD70D1D938}"/>
              </a:ext>
            </a:extLst>
          </p:cNvPr>
          <p:cNvSpPr/>
          <p:nvPr/>
        </p:nvSpPr>
        <p:spPr bwMode="gray">
          <a:xfrm>
            <a:off x="10472615" y="1254100"/>
            <a:ext cx="1472650" cy="2189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 i="1" dirty="0">
                <a:solidFill>
                  <a:schemeClr val="tx1"/>
                </a:solidFill>
              </a:rPr>
              <a:t>Potential priority areas</a:t>
            </a:r>
          </a:p>
        </p:txBody>
      </p:sp>
      <p:sp>
        <p:nvSpPr>
          <p:cNvPr id="264" name="Rectangle 263">
            <a:extLst>
              <a:ext uri="{FF2B5EF4-FFF2-40B4-BE49-F238E27FC236}">
                <a16:creationId xmlns:a16="http://schemas.microsoft.com/office/drawing/2014/main" id="{B77A14DF-B7DC-BDDC-B4B5-94691C9B6FE2}"/>
              </a:ext>
            </a:extLst>
          </p:cNvPr>
          <p:cNvSpPr/>
          <p:nvPr/>
        </p:nvSpPr>
        <p:spPr bwMode="gray">
          <a:xfrm>
            <a:off x="11503431" y="1505076"/>
            <a:ext cx="352541" cy="180909"/>
          </a:xfrm>
          <a:prstGeom prst="rect">
            <a:avLst/>
          </a:prstGeom>
          <a:solidFill>
            <a:srgbClr val="83AC9A">
              <a:alpha val="2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 dirty="0">
                <a:solidFill>
                  <a:srgbClr val="000000"/>
                </a:solidFill>
              </a:rPr>
              <a:t>P1</a:t>
            </a:r>
          </a:p>
        </p:txBody>
      </p:sp>
      <p:sp>
        <p:nvSpPr>
          <p:cNvPr id="265" name="Rectangle 264">
            <a:extLst>
              <a:ext uri="{FF2B5EF4-FFF2-40B4-BE49-F238E27FC236}">
                <a16:creationId xmlns:a16="http://schemas.microsoft.com/office/drawing/2014/main" id="{9484585E-30E3-84EB-9CEE-CFBDB1267AA9}"/>
              </a:ext>
            </a:extLst>
          </p:cNvPr>
          <p:cNvSpPr/>
          <p:nvPr/>
        </p:nvSpPr>
        <p:spPr bwMode="gray">
          <a:xfrm>
            <a:off x="11503431" y="1749889"/>
            <a:ext cx="352541" cy="180909"/>
          </a:xfrm>
          <a:prstGeom prst="rect">
            <a:avLst/>
          </a:prstGeom>
          <a:solidFill>
            <a:srgbClr val="E9CD49">
              <a:alpha val="25000"/>
            </a:srgb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 dirty="0">
                <a:solidFill>
                  <a:srgbClr val="000000"/>
                </a:solidFill>
              </a:rPr>
              <a:t>P2</a:t>
            </a:r>
          </a:p>
        </p:txBody>
      </p:sp>
      <p:sp>
        <p:nvSpPr>
          <p:cNvPr id="266" name="Rectangle 265">
            <a:extLst>
              <a:ext uri="{FF2B5EF4-FFF2-40B4-BE49-F238E27FC236}">
                <a16:creationId xmlns:a16="http://schemas.microsoft.com/office/drawing/2014/main" id="{B1C731C4-DF2A-0D05-6CD2-6060554D2C40}"/>
              </a:ext>
            </a:extLst>
          </p:cNvPr>
          <p:cNvSpPr/>
          <p:nvPr/>
        </p:nvSpPr>
        <p:spPr bwMode="gray">
          <a:xfrm>
            <a:off x="11503431" y="1994701"/>
            <a:ext cx="352541" cy="180909"/>
          </a:xfrm>
          <a:prstGeom prst="rect">
            <a:avLst/>
          </a:prstGeom>
          <a:solidFill>
            <a:schemeClr val="accent3">
              <a:lumMod val="40000"/>
              <a:lumOff val="60000"/>
              <a:alpha val="25000"/>
            </a:schemeClr>
          </a:solidFill>
          <a:ln w="9525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000" dirty="0">
                <a:solidFill>
                  <a:srgbClr val="000000"/>
                </a:solidFill>
              </a:rPr>
              <a:t>P3</a:t>
            </a:r>
          </a:p>
        </p:txBody>
      </p:sp>
      <p:cxnSp>
        <p:nvCxnSpPr>
          <p:cNvPr id="282" name="Straight Arrow Connector 281">
            <a:extLst>
              <a:ext uri="{FF2B5EF4-FFF2-40B4-BE49-F238E27FC236}">
                <a16:creationId xmlns:a16="http://schemas.microsoft.com/office/drawing/2014/main" id="{5CAF26B1-FF1E-5BFF-CD12-1E83E8DC1DCC}"/>
              </a:ext>
            </a:extLst>
          </p:cNvPr>
          <p:cNvCxnSpPr>
            <a:cxnSpLocks/>
          </p:cNvCxnSpPr>
          <p:nvPr/>
        </p:nvCxnSpPr>
        <p:spPr bwMode="gray">
          <a:xfrm flipV="1">
            <a:off x="993710" y="1685985"/>
            <a:ext cx="9664767" cy="3635632"/>
          </a:xfrm>
          <a:prstGeom prst="straightConnector1">
            <a:avLst/>
          </a:prstGeom>
          <a:ln w="9525" cap="flat">
            <a:solidFill>
              <a:schemeClr val="tx1"/>
            </a:solidFill>
            <a:miter lim="800000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ctangle 282">
            <a:extLst>
              <a:ext uri="{FF2B5EF4-FFF2-40B4-BE49-F238E27FC236}">
                <a16:creationId xmlns:a16="http://schemas.microsoft.com/office/drawing/2014/main" id="{A19A98E0-6245-9E1B-9085-88D04E9D7CB3}"/>
              </a:ext>
            </a:extLst>
          </p:cNvPr>
          <p:cNvSpPr/>
          <p:nvPr/>
        </p:nvSpPr>
        <p:spPr bwMode="gray">
          <a:xfrm rot="20328688">
            <a:off x="9634821" y="1646445"/>
            <a:ext cx="914400" cy="2189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i="1" dirty="0">
                <a:solidFill>
                  <a:schemeClr val="tx1"/>
                </a:solidFill>
              </a:rPr>
              <a:t>Priority (+)</a:t>
            </a:r>
          </a:p>
        </p:txBody>
      </p:sp>
      <p:sp>
        <p:nvSpPr>
          <p:cNvPr id="284" name="Rectangle 283">
            <a:extLst>
              <a:ext uri="{FF2B5EF4-FFF2-40B4-BE49-F238E27FC236}">
                <a16:creationId xmlns:a16="http://schemas.microsoft.com/office/drawing/2014/main" id="{9A026771-2B42-1CF0-997B-A1FE7CC7436F}"/>
              </a:ext>
            </a:extLst>
          </p:cNvPr>
          <p:cNvSpPr/>
          <p:nvPr/>
        </p:nvSpPr>
        <p:spPr bwMode="gray">
          <a:xfrm rot="20369975">
            <a:off x="716111" y="5021215"/>
            <a:ext cx="914400" cy="218900"/>
          </a:xfrm>
          <a:prstGeom prst="rect">
            <a:avLst/>
          </a:prstGeom>
          <a:noFill/>
          <a:ln w="9525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i="1" dirty="0">
                <a:solidFill>
                  <a:schemeClr val="tx1"/>
                </a:solidFill>
              </a:rPr>
              <a:t>(-)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AEB133-0C66-F672-B916-2C1AF1E70DB6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27" name="btfpRunningAgenda1Level573689">
            <a:extLst>
              <a:ext uri="{FF2B5EF4-FFF2-40B4-BE49-F238E27FC236}">
                <a16:creationId xmlns:a16="http://schemas.microsoft.com/office/drawing/2014/main" id="{44BD4378-8FE6-F8C7-2B26-10FD4C2E7A1E}"/>
              </a:ext>
            </a:extLst>
          </p:cNvPr>
          <p:cNvGrpSpPr/>
          <p:nvPr>
            <p:custDataLst>
              <p:tags r:id="rId39"/>
            </p:custDataLst>
          </p:nvPr>
        </p:nvGrpSpPr>
        <p:grpSpPr>
          <a:xfrm>
            <a:off x="0" y="944429"/>
            <a:ext cx="2436784" cy="257442"/>
            <a:chOff x="0" y="876300"/>
            <a:chExt cx="2436784" cy="257442"/>
          </a:xfrm>
        </p:grpSpPr>
        <p:sp>
          <p:nvSpPr>
            <p:cNvPr id="31" name="btfpRunningAgenda1LevelBarLeft573689">
              <a:extLst>
                <a:ext uri="{FF2B5EF4-FFF2-40B4-BE49-F238E27FC236}">
                  <a16:creationId xmlns:a16="http://schemas.microsoft.com/office/drawing/2014/main" id="{9AA24A4B-3027-D73D-28E8-86C86C95130E}"/>
                </a:ext>
              </a:extLst>
            </p:cNvPr>
            <p:cNvSpPr/>
            <p:nvPr/>
          </p:nvSpPr>
          <p:spPr bwMode="gray">
            <a:xfrm>
              <a:off x="0" y="876300"/>
              <a:ext cx="2436784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516661 w 1655904"/>
                <a:gd name="connsiteY0" fmla="*/ 0 h 257442"/>
                <a:gd name="connsiteX1" fmla="*/ 1655904 w 1655904"/>
                <a:gd name="connsiteY1" fmla="*/ 257442 h 257442"/>
                <a:gd name="connsiteX2" fmla="*/ 0 w 1655904"/>
                <a:gd name="connsiteY2" fmla="*/ 257442 h 257442"/>
                <a:gd name="connsiteX3" fmla="*/ 0 w 1655904"/>
                <a:gd name="connsiteY3" fmla="*/ 0 h 257442"/>
                <a:gd name="connsiteX0" fmla="*/ 1516661 w 1516661"/>
                <a:gd name="connsiteY0" fmla="*/ 0 h 257442"/>
                <a:gd name="connsiteX1" fmla="*/ 1461940 w 1516661"/>
                <a:gd name="connsiteY1" fmla="*/ 257442 h 257442"/>
                <a:gd name="connsiteX2" fmla="*/ 0 w 1516661"/>
                <a:gd name="connsiteY2" fmla="*/ 257442 h 257442"/>
                <a:gd name="connsiteX3" fmla="*/ 0 w 1516661"/>
                <a:gd name="connsiteY3" fmla="*/ 0 h 257442"/>
                <a:gd name="connsiteX0" fmla="*/ 1516661 w 1516661"/>
                <a:gd name="connsiteY0" fmla="*/ 0 h 257442"/>
                <a:gd name="connsiteX1" fmla="*/ 1461940 w 1516661"/>
                <a:gd name="connsiteY1" fmla="*/ 257442 h 257442"/>
                <a:gd name="connsiteX2" fmla="*/ 1 w 1516661"/>
                <a:gd name="connsiteY2" fmla="*/ 257442 h 257442"/>
                <a:gd name="connsiteX3" fmla="*/ 0 w 1516661"/>
                <a:gd name="connsiteY3" fmla="*/ 0 h 257442"/>
                <a:gd name="connsiteX0" fmla="*/ 1516660 w 1516660"/>
                <a:gd name="connsiteY0" fmla="*/ 0 h 257442"/>
                <a:gd name="connsiteX1" fmla="*/ 1461939 w 1516660"/>
                <a:gd name="connsiteY1" fmla="*/ 257442 h 257442"/>
                <a:gd name="connsiteX2" fmla="*/ 0 w 1516660"/>
                <a:gd name="connsiteY2" fmla="*/ 257442 h 257442"/>
                <a:gd name="connsiteX3" fmla="*/ 0 w 1516660"/>
                <a:gd name="connsiteY3" fmla="*/ 0 h 257442"/>
                <a:gd name="connsiteX0" fmla="*/ 1684975 w 1684975"/>
                <a:gd name="connsiteY0" fmla="*/ 0 h 257442"/>
                <a:gd name="connsiteX1" fmla="*/ 1461939 w 1684975"/>
                <a:gd name="connsiteY1" fmla="*/ 257442 h 257442"/>
                <a:gd name="connsiteX2" fmla="*/ 0 w 1684975"/>
                <a:gd name="connsiteY2" fmla="*/ 257442 h 257442"/>
                <a:gd name="connsiteX3" fmla="*/ 0 w 1684975"/>
                <a:gd name="connsiteY3" fmla="*/ 0 h 257442"/>
                <a:gd name="connsiteX0" fmla="*/ 1684975 w 1684975"/>
                <a:gd name="connsiteY0" fmla="*/ 0 h 257442"/>
                <a:gd name="connsiteX1" fmla="*/ 1630254 w 1684975"/>
                <a:gd name="connsiteY1" fmla="*/ 257442 h 257442"/>
                <a:gd name="connsiteX2" fmla="*/ 0 w 1684975"/>
                <a:gd name="connsiteY2" fmla="*/ 257442 h 257442"/>
                <a:gd name="connsiteX3" fmla="*/ 0 w 1684975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1 w 1684976"/>
                <a:gd name="connsiteY3" fmla="*/ 0 h 257442"/>
                <a:gd name="connsiteX0" fmla="*/ 1684976 w 1684976"/>
                <a:gd name="connsiteY0" fmla="*/ 0 h 257442"/>
                <a:gd name="connsiteX1" fmla="*/ 1630255 w 1684976"/>
                <a:gd name="connsiteY1" fmla="*/ 257442 h 257442"/>
                <a:gd name="connsiteX2" fmla="*/ 0 w 1684976"/>
                <a:gd name="connsiteY2" fmla="*/ 257442 h 257442"/>
                <a:gd name="connsiteX3" fmla="*/ 0 w 1684976"/>
                <a:gd name="connsiteY3" fmla="*/ 0 h 257442"/>
                <a:gd name="connsiteX0" fmla="*/ 1853291 w 1853291"/>
                <a:gd name="connsiteY0" fmla="*/ 0 h 257442"/>
                <a:gd name="connsiteX1" fmla="*/ 1630255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1853291 w 1853291"/>
                <a:gd name="connsiteY0" fmla="*/ 0 h 257442"/>
                <a:gd name="connsiteX1" fmla="*/ 1798570 w 1853291"/>
                <a:gd name="connsiteY1" fmla="*/ 257442 h 257442"/>
                <a:gd name="connsiteX2" fmla="*/ 0 w 1853291"/>
                <a:gd name="connsiteY2" fmla="*/ 257442 h 257442"/>
                <a:gd name="connsiteX3" fmla="*/ 0 w 1853291"/>
                <a:gd name="connsiteY3" fmla="*/ 0 h 257442"/>
                <a:gd name="connsiteX0" fmla="*/ 2013592 w 2013592"/>
                <a:gd name="connsiteY0" fmla="*/ 0 h 257442"/>
                <a:gd name="connsiteX1" fmla="*/ 17985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1676961 w 2769990"/>
                <a:gd name="connsiteY0" fmla="*/ 0 h 257442"/>
                <a:gd name="connsiteX1" fmla="*/ 2769990 w 2769990"/>
                <a:gd name="connsiteY1" fmla="*/ 257442 h 257442"/>
                <a:gd name="connsiteX2" fmla="*/ 0 w 2769990"/>
                <a:gd name="connsiteY2" fmla="*/ 257442 h 257442"/>
                <a:gd name="connsiteX3" fmla="*/ 0 w 2769990"/>
                <a:gd name="connsiteY3" fmla="*/ 0 h 257442"/>
                <a:gd name="connsiteX0" fmla="*/ 1676961 w 1676961"/>
                <a:gd name="connsiteY0" fmla="*/ 0 h 257442"/>
                <a:gd name="connsiteX1" fmla="*/ 1622240 w 1676961"/>
                <a:gd name="connsiteY1" fmla="*/ 257442 h 257442"/>
                <a:gd name="connsiteX2" fmla="*/ 0 w 1676961"/>
                <a:gd name="connsiteY2" fmla="*/ 257442 h 257442"/>
                <a:gd name="connsiteX3" fmla="*/ 0 w 1676961"/>
                <a:gd name="connsiteY3" fmla="*/ 0 h 257442"/>
                <a:gd name="connsiteX0" fmla="*/ 1676961 w 1676961"/>
                <a:gd name="connsiteY0" fmla="*/ 0 h 257442"/>
                <a:gd name="connsiteX1" fmla="*/ 1622240 w 1676961"/>
                <a:gd name="connsiteY1" fmla="*/ 257442 h 257442"/>
                <a:gd name="connsiteX2" fmla="*/ 1 w 1676961"/>
                <a:gd name="connsiteY2" fmla="*/ 257442 h 257442"/>
                <a:gd name="connsiteX3" fmla="*/ 0 w 1676961"/>
                <a:gd name="connsiteY3" fmla="*/ 0 h 257442"/>
                <a:gd name="connsiteX0" fmla="*/ 1676960 w 1676960"/>
                <a:gd name="connsiteY0" fmla="*/ 0 h 257442"/>
                <a:gd name="connsiteX1" fmla="*/ 1622239 w 1676960"/>
                <a:gd name="connsiteY1" fmla="*/ 257442 h 257442"/>
                <a:gd name="connsiteX2" fmla="*/ 0 w 1676960"/>
                <a:gd name="connsiteY2" fmla="*/ 257442 h 257442"/>
                <a:gd name="connsiteX3" fmla="*/ 0 w 1676960"/>
                <a:gd name="connsiteY3" fmla="*/ 0 h 257442"/>
                <a:gd name="connsiteX0" fmla="*/ 1946264 w 1946264"/>
                <a:gd name="connsiteY0" fmla="*/ 0 h 257442"/>
                <a:gd name="connsiteX1" fmla="*/ 1622239 w 1946264"/>
                <a:gd name="connsiteY1" fmla="*/ 257442 h 257442"/>
                <a:gd name="connsiteX2" fmla="*/ 0 w 1946264"/>
                <a:gd name="connsiteY2" fmla="*/ 257442 h 257442"/>
                <a:gd name="connsiteX3" fmla="*/ 0 w 1946264"/>
                <a:gd name="connsiteY3" fmla="*/ 0 h 257442"/>
                <a:gd name="connsiteX0" fmla="*/ 1946264 w 1946264"/>
                <a:gd name="connsiteY0" fmla="*/ 0 h 257442"/>
                <a:gd name="connsiteX1" fmla="*/ 1891543 w 1946264"/>
                <a:gd name="connsiteY1" fmla="*/ 257442 h 257442"/>
                <a:gd name="connsiteX2" fmla="*/ 0 w 1946264"/>
                <a:gd name="connsiteY2" fmla="*/ 257442 h 257442"/>
                <a:gd name="connsiteX3" fmla="*/ 0 w 1946264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1 w 1946265"/>
                <a:gd name="connsiteY3" fmla="*/ 0 h 257442"/>
                <a:gd name="connsiteX0" fmla="*/ 1946265 w 1946265"/>
                <a:gd name="connsiteY0" fmla="*/ 0 h 257442"/>
                <a:gd name="connsiteX1" fmla="*/ 1891544 w 1946265"/>
                <a:gd name="connsiteY1" fmla="*/ 257442 h 257442"/>
                <a:gd name="connsiteX2" fmla="*/ 0 w 1946265"/>
                <a:gd name="connsiteY2" fmla="*/ 257442 h 257442"/>
                <a:gd name="connsiteX3" fmla="*/ 1 w 1946265"/>
                <a:gd name="connsiteY3" fmla="*/ 0 h 257442"/>
                <a:gd name="connsiteX0" fmla="*/ 2124200 w 2124200"/>
                <a:gd name="connsiteY0" fmla="*/ 0 h 257442"/>
                <a:gd name="connsiteX1" fmla="*/ 1891544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1 w 2124200"/>
                <a:gd name="connsiteY3" fmla="*/ 0 h 257442"/>
                <a:gd name="connsiteX0" fmla="*/ 2124200 w 2124200"/>
                <a:gd name="connsiteY0" fmla="*/ 0 h 257442"/>
                <a:gd name="connsiteX1" fmla="*/ 2069478 w 2124200"/>
                <a:gd name="connsiteY1" fmla="*/ 257442 h 257442"/>
                <a:gd name="connsiteX2" fmla="*/ 0 w 2124200"/>
                <a:gd name="connsiteY2" fmla="*/ 257442 h 257442"/>
                <a:gd name="connsiteX3" fmla="*/ 0 w 2124200"/>
                <a:gd name="connsiteY3" fmla="*/ 0 h 257442"/>
                <a:gd name="connsiteX0" fmla="*/ 2436784 w 2436784"/>
                <a:gd name="connsiteY0" fmla="*/ 0 h 257442"/>
                <a:gd name="connsiteX1" fmla="*/ 2069478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3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3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  <a:gd name="connsiteX0" fmla="*/ 2436784 w 2436784"/>
                <a:gd name="connsiteY0" fmla="*/ 0 h 257442"/>
                <a:gd name="connsiteX1" fmla="*/ 2382063 w 2436784"/>
                <a:gd name="connsiteY1" fmla="*/ 257442 h 257442"/>
                <a:gd name="connsiteX2" fmla="*/ 0 w 2436784"/>
                <a:gd name="connsiteY2" fmla="*/ 257442 h 257442"/>
                <a:gd name="connsiteX3" fmla="*/ 0 w 2436784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36784" h="257442">
                  <a:moveTo>
                    <a:pt x="2436784" y="0"/>
                  </a:moveTo>
                  <a:lnTo>
                    <a:pt x="2382063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2" name="btfpRunningAgenda1LevelTextLeft573689">
              <a:extLst>
                <a:ext uri="{FF2B5EF4-FFF2-40B4-BE49-F238E27FC236}">
                  <a16:creationId xmlns:a16="http://schemas.microsoft.com/office/drawing/2014/main" id="{5E792B80-B7B0-86E0-3CF5-D7F4B25CA41A}"/>
                </a:ext>
              </a:extLst>
            </p:cNvPr>
            <p:cNvSpPr txBox="1"/>
            <p:nvPr/>
          </p:nvSpPr>
          <p:spPr bwMode="gray">
            <a:xfrm>
              <a:off x="0" y="876300"/>
              <a:ext cx="2382063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Single-view</a:t>
              </a:r>
            </a:p>
          </p:txBody>
        </p:sp>
      </p:grpSp>
      <p:sp>
        <p:nvSpPr>
          <p:cNvPr id="48" name="Oval 47">
            <a:extLst>
              <a:ext uri="{FF2B5EF4-FFF2-40B4-BE49-F238E27FC236}">
                <a16:creationId xmlns:a16="http://schemas.microsoft.com/office/drawing/2014/main" id="{05536EAD-6859-DD1D-C24A-41AC6C97B8A5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7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A0E1B8-FA1F-1506-9B55-C285EF29B3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Cos by financed emissions, years since investment and invested capital</a:t>
            </a:r>
          </a:p>
        </p:txBody>
      </p:sp>
      <p:sp>
        <p:nvSpPr>
          <p:cNvPr id="60" name="btfpNotesBox530799">
            <a:extLst>
              <a:ext uri="{FF2B5EF4-FFF2-40B4-BE49-F238E27FC236}">
                <a16:creationId xmlns:a16="http://schemas.microsoft.com/office/drawing/2014/main" id="{97080858-49EA-E85C-4F8B-8FA25BC8A574}"/>
              </a:ext>
            </a:extLst>
          </p:cNvPr>
          <p:cNvSpPr txBox="1"/>
          <p:nvPr>
            <p:custDataLst>
              <p:tags r:id="rId40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en-GB" sz="800" dirty="0">
                <a:solidFill>
                  <a:srgbClr val="000000"/>
                </a:solidFill>
              </a:rPr>
              <a:t>Note: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[financed emissions / invested capital / years since investment] data; </a:t>
            </a:r>
            <a:r>
              <a:rPr lang="en-GB" sz="800" dirty="0">
                <a:solidFill>
                  <a:srgbClr val="000000"/>
                </a:solidFill>
              </a:rPr>
              <a:t>Financed emissions and invested capital of PortCos present in different funds aggregated</a:t>
            </a:r>
          </a:p>
        </p:txBody>
      </p:sp>
      <p:sp>
        <p:nvSpPr>
          <p:cNvPr id="4" name="btfpBulletedList446394">
            <a:extLst>
              <a:ext uri="{FF2B5EF4-FFF2-40B4-BE49-F238E27FC236}">
                <a16:creationId xmlns:a16="http://schemas.microsoft.com/office/drawing/2014/main" id="{1BC1033A-A17F-467E-EACA-4C5AB8D6E973}"/>
              </a:ext>
            </a:extLst>
          </p:cNvPr>
          <p:cNvSpPr/>
          <p:nvPr/>
        </p:nvSpPr>
        <p:spPr bwMode="gray">
          <a:xfrm>
            <a:off x="8954100" y="-1"/>
            <a:ext cx="3237900" cy="35558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Potentially exclude PortCos displayed if too many PortCos are included overall (e.g., focus on top 30 by financed emissions)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chemeClr val="tx1"/>
                </a:solidFill>
              </a:rPr>
              <a:t>Adjust colour-coding (alignment stages &amp; classifications) based on PMDR Support Tool colouring</a:t>
            </a:r>
            <a:endParaRPr lang="en-GB" sz="1200" dirty="0">
              <a:solidFill>
                <a:srgbClr val="000000"/>
              </a:solidFill>
            </a:endParaRP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X-axis label to reflect view as selected in PMDR Support Tool output tab (years since investment vs. invested capital)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bubble size legend label and currency in line with view as selected in PMDR Support Tool output tab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DD6D368-1536-62AE-00DB-541AA60B6936}"/>
              </a:ext>
            </a:extLst>
          </p:cNvPr>
          <p:cNvGrpSpPr/>
          <p:nvPr/>
        </p:nvGrpSpPr>
        <p:grpSpPr>
          <a:xfrm>
            <a:off x="432437" y="6069538"/>
            <a:ext cx="11173232" cy="380480"/>
            <a:chOff x="330199" y="6069538"/>
            <a:chExt cx="11173232" cy="380480"/>
          </a:xfrm>
        </p:grpSpPr>
        <p:sp>
          <p:nvSpPr>
            <p:cNvPr id="136" name="Rectangle 135">
              <a:extLst>
                <a:ext uri="{FF2B5EF4-FFF2-40B4-BE49-F238E27FC236}">
                  <a16:creationId xmlns:a16="http://schemas.microsoft.com/office/drawing/2014/main" id="{185F63E4-EDCB-936F-1601-CE5831C51C0F}"/>
                </a:ext>
              </a:extLst>
            </p:cNvPr>
            <p:cNvSpPr/>
            <p:nvPr/>
          </p:nvSpPr>
          <p:spPr bwMode="gray">
            <a:xfrm>
              <a:off x="616214" y="6091947"/>
              <a:ext cx="10887217" cy="33566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7" name="TextBox 136">
              <a:extLst>
                <a:ext uri="{FF2B5EF4-FFF2-40B4-BE49-F238E27FC236}">
                  <a16:creationId xmlns:a16="http://schemas.microsoft.com/office/drawing/2014/main" id="{6E2F4B7A-1B98-20A4-EB9B-203F2BC1A194}"/>
                </a:ext>
              </a:extLst>
            </p:cNvPr>
            <p:cNvSpPr txBox="1"/>
            <p:nvPr/>
          </p:nvSpPr>
          <p:spPr bwMode="gray">
            <a:xfrm>
              <a:off x="330199" y="6151465"/>
              <a:ext cx="572030" cy="233498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:</a:t>
              </a:r>
            </a:p>
          </p:txBody>
        </p:sp>
        <p:sp>
          <p:nvSpPr>
            <p:cNvPr id="138" name="Rectangle 137">
              <a:extLst>
                <a:ext uri="{FF2B5EF4-FFF2-40B4-BE49-F238E27FC236}">
                  <a16:creationId xmlns:a16="http://schemas.microsoft.com/office/drawing/2014/main" id="{286118C3-A9BB-D099-A1B7-A90DBCE2F9A3}"/>
                </a:ext>
              </a:extLst>
            </p:cNvPr>
            <p:cNvSpPr/>
            <p:nvPr/>
          </p:nvSpPr>
          <p:spPr bwMode="gray">
            <a:xfrm>
              <a:off x="910712" y="6196672"/>
              <a:ext cx="194734" cy="126212"/>
            </a:xfrm>
            <a:prstGeom prst="rect">
              <a:avLst/>
            </a:prstGeom>
            <a:solidFill>
              <a:srgbClr val="F0F0F0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9" name="Rectangle 138">
              <a:extLst>
                <a:ext uri="{FF2B5EF4-FFF2-40B4-BE49-F238E27FC236}">
                  <a16:creationId xmlns:a16="http://schemas.microsoft.com/office/drawing/2014/main" id="{ABDA5A60-CF54-7E47-77FB-79B4AB7E5CF7}"/>
                </a:ext>
              </a:extLst>
            </p:cNvPr>
            <p:cNvSpPr/>
            <p:nvPr/>
          </p:nvSpPr>
          <p:spPr bwMode="gray">
            <a:xfrm>
              <a:off x="3099488" y="6196672"/>
              <a:ext cx="194734" cy="126212"/>
            </a:xfrm>
            <a:prstGeom prst="rect">
              <a:avLst/>
            </a:prstGeom>
            <a:solidFill>
              <a:srgbClr val="BAB9BA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0" name="TextBox 139">
              <a:extLst>
                <a:ext uri="{FF2B5EF4-FFF2-40B4-BE49-F238E27FC236}">
                  <a16:creationId xmlns:a16="http://schemas.microsoft.com/office/drawing/2014/main" id="{0AEA2743-348D-8383-7699-FE06BDEC6E6D}"/>
                </a:ext>
              </a:extLst>
            </p:cNvPr>
            <p:cNvSpPr txBox="1"/>
            <p:nvPr/>
          </p:nvSpPr>
          <p:spPr bwMode="gray">
            <a:xfrm>
              <a:off x="1139312" y="6146483"/>
              <a:ext cx="744674" cy="226591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Not Started</a:t>
              </a:r>
            </a:p>
          </p:txBody>
        </p:sp>
        <p:sp>
          <p:nvSpPr>
            <p:cNvPr id="141" name="Rectangle 140">
              <a:extLst>
                <a:ext uri="{FF2B5EF4-FFF2-40B4-BE49-F238E27FC236}">
                  <a16:creationId xmlns:a16="http://schemas.microsoft.com/office/drawing/2014/main" id="{8391E5C0-21B7-00BA-04B9-CB5C9950E508}"/>
                </a:ext>
              </a:extLst>
            </p:cNvPr>
            <p:cNvSpPr/>
            <p:nvPr/>
          </p:nvSpPr>
          <p:spPr bwMode="gray">
            <a:xfrm>
              <a:off x="6235996" y="6196672"/>
              <a:ext cx="194734" cy="126212"/>
            </a:xfrm>
            <a:prstGeom prst="rect">
              <a:avLst/>
            </a:prstGeom>
            <a:solidFill>
              <a:srgbClr val="82AEB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2" name="TextBox 141">
              <a:extLst>
                <a:ext uri="{FF2B5EF4-FFF2-40B4-BE49-F238E27FC236}">
                  <a16:creationId xmlns:a16="http://schemas.microsoft.com/office/drawing/2014/main" id="{2DFDA171-99DF-6478-CC7F-BC4B91493D28}"/>
                </a:ext>
              </a:extLst>
            </p:cNvPr>
            <p:cNvSpPr txBox="1"/>
            <p:nvPr/>
          </p:nvSpPr>
          <p:spPr bwMode="gray">
            <a:xfrm>
              <a:off x="6466223" y="606953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covers Scope 1-3)</a:t>
              </a:r>
            </a:p>
          </p:txBody>
        </p:sp>
        <p:sp>
          <p:nvSpPr>
            <p:cNvPr id="143" name="TextBox 142">
              <a:extLst>
                <a:ext uri="{FF2B5EF4-FFF2-40B4-BE49-F238E27FC236}">
                  <a16:creationId xmlns:a16="http://schemas.microsoft.com/office/drawing/2014/main" id="{2C513EFE-B1B2-A069-C563-F44D2022FB96}"/>
                </a:ext>
              </a:extLst>
            </p:cNvPr>
            <p:cNvSpPr txBox="1"/>
            <p:nvPr/>
          </p:nvSpPr>
          <p:spPr bwMode="gray">
            <a:xfrm>
              <a:off x="3329275" y="6069538"/>
              <a:ext cx="14265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A001A40D-F398-0105-43CD-F4959FB6D4B6}"/>
                </a:ext>
              </a:extLst>
            </p:cNvPr>
            <p:cNvSpPr/>
            <p:nvPr/>
          </p:nvSpPr>
          <p:spPr bwMode="gray">
            <a:xfrm>
              <a:off x="7975626" y="6196672"/>
              <a:ext cx="194734" cy="126212"/>
            </a:xfrm>
            <a:prstGeom prst="rect">
              <a:avLst/>
            </a:prstGeom>
            <a:solidFill>
              <a:srgbClr val="43868B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061E672C-1528-2D37-390C-17B17670A329}"/>
                </a:ext>
              </a:extLst>
            </p:cNvPr>
            <p:cNvSpPr txBox="1"/>
            <p:nvPr/>
          </p:nvSpPr>
          <p:spPr bwMode="gray">
            <a:xfrm>
              <a:off x="8220554" y="6069538"/>
              <a:ext cx="164007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ing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146" name="Rectangle 145">
              <a:extLst>
                <a:ext uri="{FF2B5EF4-FFF2-40B4-BE49-F238E27FC236}">
                  <a16:creationId xmlns:a16="http://schemas.microsoft.com/office/drawing/2014/main" id="{455A9139-D461-76B0-F607-D0135A1BBA3E}"/>
                </a:ext>
              </a:extLst>
            </p:cNvPr>
            <p:cNvSpPr/>
            <p:nvPr/>
          </p:nvSpPr>
          <p:spPr bwMode="gray">
            <a:xfrm>
              <a:off x="9384508" y="6196672"/>
              <a:ext cx="194734" cy="126212"/>
            </a:xfrm>
            <a:prstGeom prst="rect">
              <a:avLst/>
            </a:prstGeom>
            <a:solidFill>
              <a:srgbClr val="045E64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94C50521-CBBE-0B47-FB14-D8B225CD152C}"/>
                </a:ext>
              </a:extLst>
            </p:cNvPr>
            <p:cNvSpPr txBox="1"/>
            <p:nvPr/>
          </p:nvSpPr>
          <p:spPr bwMode="gray">
            <a:xfrm>
              <a:off x="9629437" y="6069538"/>
              <a:ext cx="1229332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ligned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covers Scope 1-3)</a:t>
              </a:r>
            </a:p>
          </p:txBody>
        </p:sp>
        <p:sp>
          <p:nvSpPr>
            <p:cNvPr id="148" name="Rectangle 147">
              <a:extLst>
                <a:ext uri="{FF2B5EF4-FFF2-40B4-BE49-F238E27FC236}">
                  <a16:creationId xmlns:a16="http://schemas.microsoft.com/office/drawing/2014/main" id="{81231B20-8CA3-DCE5-C568-51D4E4DE7F9A}"/>
                </a:ext>
              </a:extLst>
            </p:cNvPr>
            <p:cNvSpPr/>
            <p:nvPr/>
          </p:nvSpPr>
          <p:spPr bwMode="gray">
            <a:xfrm>
              <a:off x="1919479" y="6196672"/>
              <a:ext cx="194734" cy="126212"/>
            </a:xfrm>
            <a:prstGeom prst="rect">
              <a:avLst/>
            </a:prstGeom>
            <a:pattFill prst="wdUpDiag">
              <a:fgClr>
                <a:srgbClr val="858585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E3662509-5069-E92D-2E15-D541BEC5611B}"/>
                </a:ext>
              </a:extLst>
            </p:cNvPr>
            <p:cNvSpPr txBox="1"/>
            <p:nvPr/>
          </p:nvSpPr>
          <p:spPr bwMode="gray">
            <a:xfrm>
              <a:off x="2149266" y="6069538"/>
              <a:ext cx="924254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Capturing Data </a:t>
              </a:r>
              <a:b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</a:b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(Scope 1&amp;2)</a:t>
              </a:r>
            </a:p>
          </p:txBody>
        </p:sp>
        <p:sp>
          <p:nvSpPr>
            <p:cNvPr id="150" name="Rectangle 149">
              <a:extLst>
                <a:ext uri="{FF2B5EF4-FFF2-40B4-BE49-F238E27FC236}">
                  <a16:creationId xmlns:a16="http://schemas.microsoft.com/office/drawing/2014/main" id="{0E39A09E-6472-7298-D8AF-8536FAA0A667}"/>
                </a:ext>
              </a:extLst>
            </p:cNvPr>
            <p:cNvSpPr/>
            <p:nvPr/>
          </p:nvSpPr>
          <p:spPr bwMode="gray">
            <a:xfrm>
              <a:off x="4483902" y="6196672"/>
              <a:ext cx="194734" cy="126212"/>
            </a:xfrm>
            <a:prstGeom prst="rect">
              <a:avLst/>
            </a:prstGeom>
            <a:pattFill prst="wdUpDiag">
              <a:fgClr>
                <a:srgbClr val="83AC9A"/>
              </a:fgClr>
              <a:bgClr>
                <a:schemeClr val="bg1"/>
              </a:bgClr>
            </a:patt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51" name="TextBox 150">
              <a:extLst>
                <a:ext uri="{FF2B5EF4-FFF2-40B4-BE49-F238E27FC236}">
                  <a16:creationId xmlns:a16="http://schemas.microsoft.com/office/drawing/2014/main" id="{2B7D5EF5-E66D-84FA-9470-6BDAD664191F}"/>
                </a:ext>
              </a:extLst>
            </p:cNvPr>
            <p:cNvSpPr txBox="1"/>
            <p:nvPr/>
          </p:nvSpPr>
          <p:spPr bwMode="gray">
            <a:xfrm>
              <a:off x="4714129" y="6069538"/>
              <a:ext cx="1525883" cy="380480"/>
            </a:xfrm>
            <a:prstGeom prst="rect">
              <a:avLst/>
            </a:prstGeom>
            <a:noFill/>
          </p:spPr>
          <p:txBody>
            <a:bodyPr wrap="square" lIns="36000" tIns="36000" rIns="36000" bIns="36000" rtlCol="0">
              <a:spAutoFit/>
            </a:bodyPr>
            <a:lstStyle/>
            <a:p>
              <a:pPr marL="0" marR="0" lvl="0" indent="0" algn="l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Preparing to Decarbonise (Scope 1&amp;2)</a:t>
              </a: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BB45DB4-B781-2DF1-18D2-9005A352C92F}"/>
                </a:ext>
              </a:extLst>
            </p:cNvPr>
            <p:cNvSpPr/>
            <p:nvPr/>
          </p:nvSpPr>
          <p:spPr bwMode="gray">
            <a:xfrm>
              <a:off x="10948069" y="6069538"/>
              <a:ext cx="555362" cy="201687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>
                <a:buNone/>
              </a:pPr>
              <a:r>
                <a:rPr lang="en-GB" sz="1000" dirty="0">
                  <a:solidFill>
                    <a:schemeClr val="tx1"/>
                  </a:solidFill>
                </a:rPr>
                <a:t>Priority </a:t>
              </a:r>
              <a:br>
                <a:rPr lang="en-GB" sz="1000" dirty="0">
                  <a:solidFill>
                    <a:schemeClr val="tx1"/>
                  </a:solidFill>
                </a:rPr>
              </a:br>
              <a:r>
                <a:rPr lang="en-GB" sz="1000" dirty="0">
                  <a:solidFill>
                    <a:schemeClr val="tx1"/>
                  </a:solidFill>
                </a:rPr>
                <a:t>PortCo</a:t>
              </a:r>
            </a:p>
          </p:txBody>
        </p:sp>
        <p:sp>
          <p:nvSpPr>
            <p:cNvPr id="6" name="Oval 5">
              <a:extLst>
                <a:ext uri="{FF2B5EF4-FFF2-40B4-BE49-F238E27FC236}">
                  <a16:creationId xmlns:a16="http://schemas.microsoft.com/office/drawing/2014/main" id="{90BBD740-EB23-6724-8D7B-1D60460FED2C}"/>
                </a:ext>
              </a:extLst>
            </p:cNvPr>
            <p:cNvSpPr/>
            <p:nvPr/>
          </p:nvSpPr>
          <p:spPr bwMode="gray">
            <a:xfrm>
              <a:off x="10798462" y="6196884"/>
              <a:ext cx="126000" cy="12600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15437886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btfpColumnIndicatorGroup2">
            <a:extLst>
              <a:ext uri="{FF2B5EF4-FFF2-40B4-BE49-F238E27FC236}">
                <a16:creationId xmlns:a16="http://schemas.microsoft.com/office/drawing/2014/main" id="{0BE48F36-B8DA-A1F6-1F6C-095D5F45B5A1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9" name="btfpColumnGapBlocker608562">
              <a:extLst>
                <a:ext uri="{FF2B5EF4-FFF2-40B4-BE49-F238E27FC236}">
                  <a16:creationId xmlns:a16="http://schemas.microsoft.com/office/drawing/2014/main" id="{D7C3CD81-B923-D78A-7018-72331C97E1EE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7" name="btfpColumnGapBlocker860749">
              <a:extLst>
                <a:ext uri="{FF2B5EF4-FFF2-40B4-BE49-F238E27FC236}">
                  <a16:creationId xmlns:a16="http://schemas.microsoft.com/office/drawing/2014/main" id="{535C9D96-F263-4893-09D0-670D344D623A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5" name="btfpColumnIndicator864433">
              <a:extLst>
                <a:ext uri="{FF2B5EF4-FFF2-40B4-BE49-F238E27FC236}">
                  <a16:creationId xmlns:a16="http://schemas.microsoft.com/office/drawing/2014/main" id="{FAA1DD3A-F53F-33D6-2CBC-B7332DE978F6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" name="btfpColumnIndicator302340">
              <a:extLst>
                <a:ext uri="{FF2B5EF4-FFF2-40B4-BE49-F238E27FC236}">
                  <a16:creationId xmlns:a16="http://schemas.microsoft.com/office/drawing/2014/main" id="{9AA0E37C-7203-F720-A0DF-2AC3E8C0583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btfpColumnIndicatorGroup1">
            <a:extLst>
              <a:ext uri="{FF2B5EF4-FFF2-40B4-BE49-F238E27FC236}">
                <a16:creationId xmlns:a16="http://schemas.microsoft.com/office/drawing/2014/main" id="{7175E0C7-8F56-2320-60CE-52AD85FAAC40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8" name="btfpColumnGapBlocker139210">
              <a:extLst>
                <a:ext uri="{FF2B5EF4-FFF2-40B4-BE49-F238E27FC236}">
                  <a16:creationId xmlns:a16="http://schemas.microsoft.com/office/drawing/2014/main" id="{CC8376A8-753D-4716-705B-0F20D7B5FBB0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6" name="btfpColumnGapBlocker854624">
              <a:extLst>
                <a:ext uri="{FF2B5EF4-FFF2-40B4-BE49-F238E27FC236}">
                  <a16:creationId xmlns:a16="http://schemas.microsoft.com/office/drawing/2014/main" id="{98306A0E-9E6A-D2E1-C413-E2C3F547D472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BBCABA"/>
              </a:fgClr>
              <a:bgClr>
                <a:srgbClr val="FFFFFF"/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4" name="btfpColumnIndicator745894">
              <a:extLst>
                <a:ext uri="{FF2B5EF4-FFF2-40B4-BE49-F238E27FC236}">
                  <a16:creationId xmlns:a16="http://schemas.microsoft.com/office/drawing/2014/main" id="{A07D4E6E-FCA1-250A-2EFD-3002DB95A2FA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" name="btfpColumnIndicator250589">
              <a:extLst>
                <a:ext uri="{FF2B5EF4-FFF2-40B4-BE49-F238E27FC236}">
                  <a16:creationId xmlns:a16="http://schemas.microsoft.com/office/drawing/2014/main" id="{35E103BE-0FBE-11D5-7772-08FE6A4A43DE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19050" cap="flat" cmpd="sng" algn="ctr">
              <a:solidFill>
                <a:srgbClr val="507867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custDataLst>
      <p:tags r:id="rId1"/>
    </p:custDataLst>
    <p:extLst>
      <p:ext uri="{BB962C8B-B14F-4D97-AF65-F5344CB8AC3E}">
        <p14:creationId xmlns:p14="http://schemas.microsoft.com/office/powerpoint/2010/main" val="15488346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29555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0" imgW="484" imgH="486" progId="TCLayout.ActiveDocument.1">
                  <p:embed/>
                </p:oleObj>
              </mc:Choice>
              <mc:Fallback>
                <p:oleObj name="think-cell Slide" r:id="rId80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financed emissions</a:t>
            </a:r>
          </a:p>
        </p:txBody>
      </p:sp>
      <p:graphicFrame>
        <p:nvGraphicFramePr>
          <p:cNvPr id="72" name="Chart 71">
            <a:extLst>
              <a:ext uri="{FF2B5EF4-FFF2-40B4-BE49-F238E27FC236}">
                <a16:creationId xmlns:a16="http://schemas.microsoft.com/office/drawing/2014/main" id="{36C52819-3DB3-6649-CC0E-A456F4CA0C1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646240396"/>
              </p:ext>
            </p:extLst>
          </p:nvPr>
        </p:nvGraphicFramePr>
        <p:xfrm>
          <a:off x="1695450" y="1703388"/>
          <a:ext cx="10244138" cy="3194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2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592263" y="4724400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C4AAB6F-AF99-47DA-93EF-048D024367C6}" type="datetime'''''''0''''''''''''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9" name="Text Placeholder">
            <a:extLst>
              <a:ext uri="{FF2B5EF4-FFF2-40B4-BE49-F238E27FC236}">
                <a16:creationId xmlns:a16="http://schemas.microsoft.com/office/drawing/2014/main" id="{64FC216C-5278-4F14-164A-990C2B57494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296988" y="3967163"/>
            <a:ext cx="3794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8FEB3D9-47FB-4EA4-A1CA-877800650B9C}" type="datetime'''''''''''''''''''''5'''''''''''',''''''''''0''''0''0'">
              <a:rPr lang="en-GB" altLang="en-US" sz="1200" smtClean="0">
                <a:solidFill>
                  <a:srgbClr val="000000"/>
                </a:solidFill>
              </a:rPr>
              <a:pPr/>
              <a:t>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C6ABF6B8-596A-684C-8A8B-7D54FDA0AABF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212850" y="3209925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F689399-6833-4A27-B52C-B20AAE9E4E4E}" type="datetime'''''''1''''''''''0'',''''''''''''''''''0''0''''''''0'''''''">
              <a:rPr lang="en-GB" altLang="en-US" sz="1200" smtClean="0">
                <a:solidFill>
                  <a:srgbClr val="000000"/>
                </a:solidFill>
              </a:rPr>
              <a:pPr/>
              <a:t>1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1" name="Text Placeholder">
            <a:extLst>
              <a:ext uri="{FF2B5EF4-FFF2-40B4-BE49-F238E27FC236}">
                <a16:creationId xmlns:a16="http://schemas.microsoft.com/office/drawing/2014/main" id="{EF6F55AC-1C95-9132-0EC3-936A95930C8D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212850" y="2452688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A2862CA-E753-49B6-B0A8-8715A615EF7E}" type="datetime'''''''15'''',''''''''''''''''0''''''''''''''0''''0'''''''''''">
              <a:rPr lang="en-GB" altLang="en-US" sz="1200" smtClean="0">
                <a:solidFill>
                  <a:srgbClr val="000000"/>
                </a:solidFill>
              </a:rPr>
              <a:pPr/>
              <a:t>15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C43C7FB3-9D0C-5D92-74B4-53699269834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212850" y="1695450"/>
            <a:ext cx="4635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0808A21-E1E2-4F20-A706-C642D0C50A39}" type="datetime'''2''''''''''''0'''''''''''',''''''''''''''''00''''0'">
              <a:rPr lang="en-GB" altLang="en-US" sz="1200" smtClean="0">
                <a:solidFill>
                  <a:srgbClr val="000000"/>
                </a:solidFill>
              </a:rPr>
              <a:pPr/>
              <a:t>20,000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33" name="Straight Connector 232">
            <a:extLst>
              <a:ext uri="{FF2B5EF4-FFF2-40B4-BE49-F238E27FC236}">
                <a16:creationId xmlns:a16="http://schemas.microsoft.com/office/drawing/2014/main" id="{490EDDE4-D2DD-F638-9FCE-892952B8F7B1}"/>
              </a:ext>
            </a:extLst>
          </p:cNvPr>
          <p:cNvCxnSpPr/>
          <p:nvPr>
            <p:custDataLst>
              <p:tags r:id="rId10"/>
            </p:custDataLst>
          </p:nvPr>
        </p:nvCxnSpPr>
        <p:spPr bwMode="gray">
          <a:xfrm flipH="1">
            <a:off x="11333163" y="46180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4" name="Text Placeholder">
            <a:extLst>
              <a:ext uri="{FF2B5EF4-FFF2-40B4-BE49-F238E27FC236}">
                <a16:creationId xmlns:a16="http://schemas.microsoft.com/office/drawing/2014/main" id="{50C7FB0C-06AB-095D-B4EF-BD3901EA6BD2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574925" y="3975100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2355C32-C172-4B19-87CE-C507B8313154}" type="datetime'''''''''3,''''1''''''''''''''''0''''''''''0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3,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82E46AD1-A731-1EC7-5800-3A11C3CBEBAE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574925" y="35163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5BBC79-611A-4B98-9493-3C08645196B0}" type="datetime'''''''''''''''''2,''''''''''''''''''''''''''95''0'''''''''''''">
              <a:rPr lang="en-GB" altLang="en-US" sz="1200" smtClean="0">
                <a:solidFill>
                  <a:srgbClr val="000000"/>
                </a:solidFill>
              </a:rPr>
              <a:pPr/>
              <a:t>2,95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0" name="Text Placeholder">
            <a:extLst>
              <a:ext uri="{FF2B5EF4-FFF2-40B4-BE49-F238E27FC236}">
                <a16:creationId xmlns:a16="http://schemas.microsoft.com/office/drawing/2014/main" id="{C836B9F8-8DE3-B7A5-9E09-717D4699FCCD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574925" y="3122613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FA5DB11-054F-47D0-8883-2F72EE348575}" type="datetime'''''''2'',''''''''''''''''2''4''''''''''0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2,2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1A3C9C55-07A1-846D-8749-43C163AE5810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574925" y="27797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6CC669F-59F5-47B6-9806-625759CDBF39}" type="datetime'2'''''''''''',''3''''''''''''''''0''''''''''''''0'">
              <a:rPr lang="en-GB" altLang="en-US" sz="1200" smtClean="0">
                <a:solidFill>
                  <a:srgbClr val="000000"/>
                </a:solidFill>
              </a:rPr>
              <a:pPr/>
              <a:t>2,3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86516027-5C86-8D7D-3612-F23D44306CA8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359025" y="2547938"/>
            <a:ext cx="296863" cy="182563"/>
          </a:xfrm>
          <a:prstGeom prst="rect">
            <a:avLst/>
          </a:prstGeom>
          <a:solidFill>
            <a:srgbClr val="43868B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F8EB53A-6482-4FE9-A762-1492F4F169F8}" type="datetime'''''''''''''''''750'''''''''''''''''''''''''''">
              <a:rPr lang="en-GB" altLang="en-US" sz="1200" smtClean="0">
                <a:solidFill>
                  <a:srgbClr val="FFFFFF"/>
                </a:solidFill>
                <a:effectLst/>
              </a:rPr>
              <a:pPr/>
              <a:t>75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B9F62784-62A1-09EA-030E-9C26F42A87E3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855913" y="24050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E6E57F5-780C-477A-9B92-DEF476473831}" type="datetime'1'''''''',15''''''0'''''''''''''''">
              <a:rPr lang="en-GB" altLang="en-US" sz="1200" smtClean="0">
                <a:solidFill>
                  <a:srgbClr val="FFFFFF"/>
                </a:solidFill>
              </a:rPr>
              <a:pPr/>
              <a:t>1,15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35" name="Text Placeholder">
            <a:extLst>
              <a:ext uri="{FF2B5EF4-FFF2-40B4-BE49-F238E27FC236}">
                <a16:creationId xmlns:a16="http://schemas.microsoft.com/office/drawing/2014/main" id="{11BF4077-5515-973F-9EB9-011BFF1CE44E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591050" y="44973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0051B3F-3EA6-481B-97F6-42E30663731B}" type="datetime'''''''''''''''3'''',0''''''''''''''''0''''''''''''''''0'''''">
              <a:rPr lang="en-GB" altLang="en-US" sz="1200" smtClean="0">
                <a:solidFill>
                  <a:srgbClr val="000000"/>
                </a:solidFill>
              </a:rPr>
              <a:pPr/>
              <a:t>3,0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9" name="Text Placeholder">
            <a:extLst>
              <a:ext uri="{FF2B5EF4-FFF2-40B4-BE49-F238E27FC236}">
                <a16:creationId xmlns:a16="http://schemas.microsoft.com/office/drawing/2014/main" id="{8C165227-38C1-3E4C-64FD-DB50B2050CB9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591050" y="4027488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B012489-CE22-4828-B825-C7000043AE25}" type="datetime'''''3'''''',''''2''''''''''''0''''''''''''0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3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DC95E385-6B84-4DFB-1A57-5D77D798874C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591050" y="35210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F49C70-C55D-4424-9950-ADFF36960E97}" type="datetime'''''''''''''3'''''''',5''''''''''''0''''''''0'''''''">
              <a:rPr lang="en-GB" altLang="en-US" sz="1200" smtClean="0">
                <a:solidFill>
                  <a:srgbClr val="000000"/>
                </a:solidFill>
              </a:rPr>
              <a:pPr/>
              <a:t>3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4" name="Text Placeholder">
            <a:extLst>
              <a:ext uri="{FF2B5EF4-FFF2-40B4-BE49-F238E27FC236}">
                <a16:creationId xmlns:a16="http://schemas.microsoft.com/office/drawing/2014/main" id="{A1F9BB0F-115C-3641-1898-FE7FA50273F4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591050" y="3125788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2541709-E7A9-46F6-A79D-971A9DB3E3CD}" type="datetime'1'''',''''''''''''''''70''''''''''''''''0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8" name="Text Placeholder">
            <a:extLst>
              <a:ext uri="{FF2B5EF4-FFF2-40B4-BE49-F238E27FC236}">
                <a16:creationId xmlns:a16="http://schemas.microsoft.com/office/drawing/2014/main" id="{4C798A11-6C95-1237-2F3F-619941E67335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591050" y="285273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EECC55-1832-431F-8B00-383ADA1B6AC1}" type="datetime'1'''''''''''''''''''',''9''''00'''''''''">
              <a:rPr lang="en-GB" altLang="en-US" sz="1200" smtClean="0">
                <a:solidFill>
                  <a:srgbClr val="000000"/>
                </a:solidFill>
              </a:rPr>
              <a:pPr/>
              <a:t>1,9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9" name="Text Placeholder">
            <a:extLst>
              <a:ext uri="{FF2B5EF4-FFF2-40B4-BE49-F238E27FC236}">
                <a16:creationId xmlns:a16="http://schemas.microsoft.com/office/drawing/2014/main" id="{29FAD21F-D32E-A36E-49F3-FD9C3B9A9239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591050" y="249713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D3D0222-009D-4B45-8F6F-1F056EB20905}" type="datetime'''''2,''''''8''''''''''''''0''''''''0'''''''''''''''''''''''">
              <a:rPr lang="en-GB" altLang="en-US" sz="1200" smtClean="0">
                <a:solidFill>
                  <a:srgbClr val="FFFFFF"/>
                </a:solidFill>
              </a:rPr>
              <a:pPr/>
              <a:t>2,8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42" name="Text Placeholder">
            <a:extLst>
              <a:ext uri="{FF2B5EF4-FFF2-40B4-BE49-F238E27FC236}">
                <a16:creationId xmlns:a16="http://schemas.microsoft.com/office/drawing/2014/main" id="{63DA108B-72C6-A953-457C-B6071F97FDC1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591050" y="212725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522BA83-F60B-4912-97B6-440205F8D5E3}" type="datetime'2'''''''''''',''''''''10''''''''''''''''''''''''''''''0'">
              <a:rPr lang="en-GB" altLang="en-US" sz="1200" smtClean="0">
                <a:solidFill>
                  <a:srgbClr val="FFFFFF"/>
                </a:solidFill>
              </a:rPr>
              <a:pPr/>
              <a:t>2,1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64" name="Text Placeholder">
            <a:extLst>
              <a:ext uri="{FF2B5EF4-FFF2-40B4-BE49-F238E27FC236}">
                <a16:creationId xmlns:a16="http://schemas.microsoft.com/office/drawing/2014/main" id="{1886250C-FCA0-C9D4-C496-853023BBC2A9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605588" y="45847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15C89B-6DE8-461F-9B41-59BB21F2C635}" type="datetime'1'',8''''''''5''''''''''''''''''''0'''''''''''">
              <a:rPr lang="en-GB" altLang="en-US" sz="1200" smtClean="0">
                <a:solidFill>
                  <a:srgbClr val="000000"/>
                </a:solidFill>
              </a:rPr>
              <a:pPr/>
              <a:t>1,85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4" name="Text Placeholder">
            <a:extLst>
              <a:ext uri="{FF2B5EF4-FFF2-40B4-BE49-F238E27FC236}">
                <a16:creationId xmlns:a16="http://schemas.microsoft.com/office/drawing/2014/main" id="{2AD92575-D333-060B-48AF-2C74FE1AA219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605588" y="4243388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6449B7-6847-4403-9010-7CD831EAC7AF}" type="datetime'''''''''''''''''''''''''''2'''''''''',''''''6''5''''0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2,65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5" name="Text Placeholder">
            <a:extLst>
              <a:ext uri="{FF2B5EF4-FFF2-40B4-BE49-F238E27FC236}">
                <a16:creationId xmlns:a16="http://schemas.microsoft.com/office/drawing/2014/main" id="{A092C4EB-6E40-B313-A2BB-BEF3899A8963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605588" y="38528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5B4CE94-5C3B-4FA9-8573-F872143AD9FB}" type="datetime'''2'',5''''''''''''''''''''''''''''0''''''''''''''0'''''">
              <a:rPr lang="en-GB" altLang="en-US" sz="1200" smtClean="0">
                <a:solidFill>
                  <a:srgbClr val="000000"/>
                </a:solidFill>
              </a:rPr>
              <a:pPr/>
              <a:t>2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7" name="Text Placeholder">
            <a:extLst>
              <a:ext uri="{FF2B5EF4-FFF2-40B4-BE49-F238E27FC236}">
                <a16:creationId xmlns:a16="http://schemas.microsoft.com/office/drawing/2014/main" id="{D0FFB170-076A-36BB-E1FE-327C74771F20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605588" y="3459163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F0C67C-10E1-4E05-9361-1E4B6C151E7D}" type="datetime'''''''2'''''''''''''''''',''''''''''''7''''0''''''0'">
              <a:rPr lang="en-GB" altLang="en-US" sz="1200" smtClean="0">
                <a:solidFill>
                  <a:srgbClr val="000000"/>
                </a:solidFill>
                <a:effectLst/>
              </a:rPr>
              <a:pPr/>
              <a:t>2,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8" name="Text Placeholder">
            <a:extLst>
              <a:ext uri="{FF2B5EF4-FFF2-40B4-BE49-F238E27FC236}">
                <a16:creationId xmlns:a16="http://schemas.microsoft.com/office/drawing/2014/main" id="{FFECBE1E-0E24-F3F1-9828-0B4752E5CC3D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6605588" y="304323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64272F-B96B-46CB-A027-D9529C55F1E2}" type="datetime'''''2'''''''',''''''8''''''''''0''0'''''''''''''''''''''''''">
              <a:rPr lang="en-GB" altLang="en-US" sz="1200" smtClean="0">
                <a:solidFill>
                  <a:srgbClr val="000000"/>
                </a:solidFill>
              </a:rPr>
              <a:pPr/>
              <a:t>2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B4050A90-04D5-ACF4-1F8E-D834DE9F9E9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6605588" y="26035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5FFF24C-799B-4D2C-A82A-27B47D1537D0}" type="datetime'''''''''''''3'''''''',''''''''''''''''''0''''''00'''''''''''">
              <a:rPr lang="en-GB" altLang="en-US" sz="1200" smtClean="0">
                <a:solidFill>
                  <a:srgbClr val="FFFFFF"/>
                </a:solidFill>
              </a:rPr>
              <a:pPr/>
              <a:t>3,0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FD9F6F74-C380-363E-C6E0-2A56EE50590A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6605588" y="2209800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75611A0-4093-4DE6-B6E3-5B94F6540928}" type="datetime'''''''''''''''''''''2'',''''2''''0''''''''''''0'">
              <a:rPr lang="en-GB" altLang="en-US" sz="1200" smtClean="0">
                <a:solidFill>
                  <a:srgbClr val="FFFFFF"/>
                </a:solidFill>
              </a:rPr>
              <a:pPr/>
              <a:t>2,2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D1FF2191-9FBC-5AB2-2ECD-51D0C4B007CA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8405813" y="4656138"/>
            <a:ext cx="296863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D922D4-3B49-41E4-94F7-63C467F2AAF8}" type="datetime'''90''''''''''''''''''0'">
              <a:rPr lang="en-GB" altLang="en-US" sz="1200" smtClean="0">
                <a:solidFill>
                  <a:srgbClr val="000000"/>
                </a:solidFill>
                <a:effectLst/>
              </a:rPr>
              <a:pPr/>
              <a:t>9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7" name="Text Placeholder">
            <a:extLst>
              <a:ext uri="{FF2B5EF4-FFF2-40B4-BE49-F238E27FC236}">
                <a16:creationId xmlns:a16="http://schemas.microsoft.com/office/drawing/2014/main" id="{14AD30D0-4A04-7FF2-CC33-580AB9F24243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902700" y="4481513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3F50673-1E95-47FF-BEC5-BD469D29D739}" type="datetime'''''''''''''''''1,''''''''''4''0''0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4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88" name="Text Placeholder">
            <a:extLst>
              <a:ext uri="{FF2B5EF4-FFF2-40B4-BE49-F238E27FC236}">
                <a16:creationId xmlns:a16="http://schemas.microsoft.com/office/drawing/2014/main" id="{9CD2CFF1-7F93-500D-1D6B-5DA651BC3EF8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621713" y="42783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A14409D-E6D4-45EE-B711-3A3061743DE1}" type="datetime'''''''''1'''',''''''''''''''''''''''''''''''''30''0'''''''''">
              <a:rPr lang="en-GB" altLang="en-US" sz="1200" smtClean="0">
                <a:solidFill>
                  <a:srgbClr val="000000"/>
                </a:solidFill>
              </a:rPr>
              <a:pPr/>
              <a:t>1,3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0" name="Text Placeholder">
            <a:extLst>
              <a:ext uri="{FF2B5EF4-FFF2-40B4-BE49-F238E27FC236}">
                <a16:creationId xmlns:a16="http://schemas.microsoft.com/office/drawing/2014/main" id="{FFA97A5B-BA47-F98F-57D9-CEE7231126DA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8621713" y="3906838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0D98D4A-6EA5-44E6-8986-F8323E89127B}" type="datetime'3'''''''',''''''''''''''''''6''''''''''''''''''''''0''0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3,6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5" name="Text Placeholder">
            <a:extLst>
              <a:ext uri="{FF2B5EF4-FFF2-40B4-BE49-F238E27FC236}">
                <a16:creationId xmlns:a16="http://schemas.microsoft.com/office/drawing/2014/main" id="{3C60A090-978B-3CD3-3148-9B62CCAADBCA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8621713" y="337661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185C7A-43F4-4C08-A3FF-9D86ED37D44C}" type="datetime'''''''''''''3'''''',''''''4''''''''''''0''''''0'''''''''''''''">
              <a:rPr lang="en-GB" altLang="en-US" sz="1200" smtClean="0">
                <a:solidFill>
                  <a:srgbClr val="000000"/>
                </a:solidFill>
              </a:rPr>
              <a:pPr/>
              <a:t>3,4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81" name="Text Placeholder">
            <a:extLst>
              <a:ext uri="{FF2B5EF4-FFF2-40B4-BE49-F238E27FC236}">
                <a16:creationId xmlns:a16="http://schemas.microsoft.com/office/drawing/2014/main" id="{68141356-D12A-DB7E-41F9-2CECB8A480F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8621713" y="27781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F8F9C2F-861E-42E3-85A6-DC19BC030498}" type="datetime'''4,''''''''''''''5''''''''''''0''''0'''''''''">
              <a:rPr lang="en-GB" altLang="en-US" sz="1200" smtClean="0">
                <a:solidFill>
                  <a:srgbClr val="FFFFFF"/>
                </a:solidFill>
              </a:rPr>
              <a:pPr/>
              <a:t>4,5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72" name="Text Placeholder">
            <a:extLst>
              <a:ext uri="{FF2B5EF4-FFF2-40B4-BE49-F238E27FC236}">
                <a16:creationId xmlns:a16="http://schemas.microsoft.com/office/drawing/2014/main" id="{879E837E-F54D-87C2-3A69-592B957898F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8621713" y="22320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98EBD8-B7A7-4C44-BF1F-68206329FBF7}" type="datetime'2'''''''''''''''''',''''''''''''''70''''''''''''''0'">
              <a:rPr lang="en-GB" altLang="en-US" sz="1200" smtClean="0">
                <a:solidFill>
                  <a:srgbClr val="FFFFFF"/>
                </a:solidFill>
              </a:rPr>
              <a:pPr/>
              <a:t>2,7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5A0A2F40-558E-1ED4-3791-339D621037E9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701338" y="4670425"/>
            <a:ext cx="296863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801A7F-442B-4F90-A62F-576D2136D83E}" type="datetime'''''''''''''''''''''''''''''''7''''0''''0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212850" y="1390650"/>
            <a:ext cx="509905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financed emissions, 2019-2023 (tCO2e)</a:t>
            </a: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9220C526-5E1C-10C5-2B08-E449114EA1A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574925" y="446722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B2A8CC-C744-4F6E-8964-F020B3FB1A3F}" type="datetime'''''3'''''''''''''''''''''''',''4''''''''''''''0''''0'''''''''">
              <a:rPr lang="en-GB" altLang="en-US" sz="1200" smtClean="0">
                <a:solidFill>
                  <a:srgbClr val="000000"/>
                </a:solidFill>
              </a:rPr>
              <a:pPr/>
              <a:t>3,4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E9E293F1-FAF2-16A9-3119-5DD56644D870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10637838" y="43449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CA9C57-B984-4BE2-9467-B0DDBD917C3C}" type="datetime'''1'''''''''''''''''''''''',''''''''''''2''''''''00'">
              <a:rPr lang="en-GB" altLang="en-US" sz="1200" smtClean="0">
                <a:solidFill>
                  <a:srgbClr val="000000"/>
                </a:solidFill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4" name="Text Placeholder">
            <a:extLst>
              <a:ext uri="{FF2B5EF4-FFF2-40B4-BE49-F238E27FC236}">
                <a16:creationId xmlns:a16="http://schemas.microsoft.com/office/drawing/2014/main" id="{DD5631E9-3232-9BF2-F651-45C40C28FF53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10637838" y="4140200"/>
            <a:ext cx="42386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DABE89F-1920-419E-B2D6-771490B1DD73}" type="datetime'''''''1'''''''''''''''''',''''5''''''''''''''''''''''00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5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6C4CCA8D-0BAA-6818-173E-8A3D13535170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10637838" y="3814763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2078AFC-DE8D-483B-9F76-E7849222C246}" type="datetime'''''''''2,''''''''''''8''''0''''''''''''''0'''''''''''">
              <a:rPr lang="en-GB" altLang="en-US" sz="1200" smtClean="0">
                <a:solidFill>
                  <a:srgbClr val="000000"/>
                </a:solidFill>
              </a:rPr>
              <a:pPr/>
              <a:t>2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0" name="Text Placeholder">
            <a:extLst>
              <a:ext uri="{FF2B5EF4-FFF2-40B4-BE49-F238E27FC236}">
                <a16:creationId xmlns:a16="http://schemas.microsoft.com/office/drawing/2014/main" id="{68B96401-7FF5-91D6-AD15-52227D3E5365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0637838" y="3292475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8B04D2-E00C-4C4F-90C0-E9FBBBBF20B0}" type="datetime'4'''''''''''''',10''''''0'''''''''''''''">
              <a:rPr lang="en-GB" altLang="en-US" sz="1200" smtClean="0">
                <a:solidFill>
                  <a:srgbClr val="FFFFFF"/>
                </a:solidFill>
              </a:rPr>
              <a:pPr/>
              <a:t>4,1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18" name="Text Placeholder">
            <a:extLst>
              <a:ext uri="{FF2B5EF4-FFF2-40B4-BE49-F238E27FC236}">
                <a16:creationId xmlns:a16="http://schemas.microsoft.com/office/drawing/2014/main" id="{F6A6229D-EC94-6B9A-6AEB-FB45C53682C4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1428413" y="4527550"/>
            <a:ext cx="423863" cy="18256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9347646C-A36A-4BBC-BDD5-E4816B6BDC0E}" type="datetime'''''''''''''1'''',''''''''''''''''''''''''''''''''20''0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4A73274-BB8F-EFF5-7693-A9B57847F244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532063" y="220027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046B49-69D0-4EB9-8D6D-3265C0408F68}" type="datetime'''''''''''1''''''''''5,''''''''8''''9''''0'''''''''''">
              <a:rPr lang="en-GB" altLang="en-US" sz="1200" smtClean="0">
                <a:solidFill>
                  <a:srgbClr val="000000"/>
                </a:solidFill>
              </a:rPr>
              <a:pPr/>
              <a:t>15,89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4CEFDEF5-6680-A73A-AFD8-92E812E1698D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548188" y="185102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753ADE-977C-4DC3-80DD-A703D10C358F}" type="datetime'''''1''''''''''''''''8'''''''''''''''''''',''200'''''''''''''">
              <a:rPr lang="en-GB" altLang="en-US" sz="1200" smtClean="0">
                <a:solidFill>
                  <a:srgbClr val="000000"/>
                </a:solidFill>
              </a:rPr>
              <a:pPr/>
              <a:t>18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2D86FAE9-D129-0E38-91AD-A2007D25C77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562725" y="1925638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E521688-B898-4585-BFC9-958B4CF92380}" type="datetime'''''''''1''''''7'',''7''''''0''''''0'''''">
              <a:rPr lang="en-GB" altLang="en-US" sz="1200" smtClean="0">
                <a:solidFill>
                  <a:srgbClr val="000000"/>
                </a:solidFill>
              </a:rPr>
              <a:pPr/>
              <a:t>17,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B4D4F4A3-903C-A138-B46A-266E502995BA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578850" y="1911350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81A1A9-6844-4106-9BC2-DD45EA6999EB}" type="datetime'''''''''''''1''''''''''''7'''''''''''''''''''',8''''0''''0'">
              <a:rPr lang="en-GB" altLang="en-US" sz="1200" smtClean="0">
                <a:solidFill>
                  <a:srgbClr val="000000"/>
                </a:solidFill>
              </a:rPr>
              <a:pPr/>
              <a:t>17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6FBF137-9F3F-A588-1B04-D1A3DF24C0F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594975" y="2365375"/>
            <a:ext cx="508000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4AA4B55-51C3-4534-857A-318E5B20BF40}" type="datetime'''''''''''1''''''''''4,''''''8''''''''''''''0''0''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6" name="Text Placeholder">
            <a:extLst>
              <a:ext uri="{FF2B5EF4-FFF2-40B4-BE49-F238E27FC236}">
                <a16:creationId xmlns:a16="http://schemas.microsoft.com/office/drawing/2014/main" id="{722E6C9A-D833-B3AF-6182-EF681EA91E1C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10637838" y="2732088"/>
            <a:ext cx="42386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1AD240-651F-4A75-B8A0-72C9A460EE2B}" type="datetime'''''''''''''''''''3,''''''''''''3''''''0''0'''''''''''">
              <a:rPr lang="en-GB" altLang="en-US" sz="1200" smtClean="0">
                <a:solidFill>
                  <a:srgbClr val="FFFFFF"/>
                </a:solidFill>
              </a:rPr>
              <a:pPr/>
              <a:t>3,30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778000" y="4906963"/>
            <a:ext cx="2014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4D5C3D0-7454-43C6-BC1B-E531A102C747}" type="datetime'''''''''''''''2''''''01''''''''''''''''''''''''''9'''">
              <a:rPr lang="en-GB" altLang="en-US" sz="1200" smtClean="0">
                <a:solidFill>
                  <a:srgbClr val="000000"/>
                </a:solidFill>
              </a:rPr>
              <a:pPr/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810250" y="4906963"/>
            <a:ext cx="2014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F84201-23A3-42F4-8530-CBB0B4C59644}" type="datetime'''''2''0''''''''''''''''''''''''''''''''2''''''1'''''">
              <a:rPr lang="en-GB" altLang="en-US" sz="1200" smtClean="0">
                <a:solidFill>
                  <a:srgbClr val="000000"/>
                </a:solidFill>
              </a:rPr>
              <a:pPr/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824789" y="4906963"/>
            <a:ext cx="20177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6F1CA23-57A4-46F4-B78D-701BC292FCAB}" type="datetime'''''''''''''''''''''''''''''2''''0''''2''''''''''''''''2'''">
              <a:rPr lang="en-GB" altLang="en-US" sz="1200" smtClean="0">
                <a:solidFill>
                  <a:srgbClr val="000000"/>
                </a:solidFill>
              </a:rPr>
              <a:pPr/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792539" y="4906963"/>
            <a:ext cx="201771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912C00A-839C-44DD-B06C-571CEEA497AB}" type="datetime'''2''''''''''''''''''0''''''''''''''''''20'''''''''''''''''">
              <a:rPr lang="en-GB" altLang="en-US" sz="1200" smtClean="0">
                <a:solidFill>
                  <a:srgbClr val="000000"/>
                </a:solidFill>
              </a:rPr>
              <a:pPr/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9842500" y="4906963"/>
            <a:ext cx="2014538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BCB0BE9-7A21-45FA-AC77-239FE09A4DF3}" type="datetime'''''''''''''2''''''''''''''''''0''''''''''''''''2''''3'''''''">
              <a:rPr lang="en-GB" altLang="en-US" sz="1200" smtClean="0">
                <a:solidFill>
                  <a:srgbClr val="000000"/>
                </a:solidFill>
              </a:rPr>
              <a:pPr/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57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330199" y="5181600"/>
            <a:ext cx="14478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E62084B8-47C9-4061-B633-AC40F3B6E941}" type="datetime'A''''''l''''''''''ig''''n''''m''e''nt ''''l''ev''e''l''''''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741F7BA0-340B-397D-6291-744440EEB8E8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330199" y="5427663"/>
            <a:ext cx="14478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C2E5BC5-8AA8-4E3C-BB6A-E7A789176FCE}" type="datetime'''''#'''''''' ''''o''''''f'''''''''''' ''''''Por''t''''C''os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A13886C4-898D-9893-BA9D-779F23BE87A4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778000" y="5427663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D95711E-2983-4E79-9701-29D9B040732B}" type="datetime'''''2''0''''''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51F78938-E4C4-FB11-58F7-4753C27CE040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3792539" y="5427663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80FFD49-CEE8-422B-8DBD-39E56DEC8723}" type="datetime'''''''''''2''''''''''''''''''''''''''''2''''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0D53BC90-F88C-9D93-C72F-457A6E7FBE6D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5810250" y="5427663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0012A8-ACD6-4EB3-B8F3-1AFA4D9EA7D8}" type="datetime'''''''''''''''''''2''''''''1'''''''''''''''''''''''''">
              <a:rPr lang="en-GB" altLang="en-US" sz="1200" smtClean="0">
                <a:solidFill>
                  <a:srgbClr val="000000"/>
                </a:solidFill>
              </a:rPr>
              <a:pPr/>
              <a:t>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18CED760-AF58-2D0B-F0BD-C4BF67BB2974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824789" y="5427663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6F77E19-1D55-4990-AE5F-1521AEC7084A}" type="datetime'''''''''''''''''''''''''''''''''''2''''''''2''''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78449EED-037A-D62C-36F3-7659D3BE53C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9842500" y="5427663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0AA9261-5109-40C2-9619-7E70DFDB49C1}" type="datetime'''''''''2''''''''''''''''''''2''''''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161" name="Text Placeholder">
            <a:extLst>
              <a:ext uri="{FF2B5EF4-FFF2-40B4-BE49-F238E27FC236}">
                <a16:creationId xmlns:a16="http://schemas.microsoft.com/office/drawing/2014/main" id="{3028DA93-5643-D5FF-0CAD-6FE2FF977F05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778000" y="5181600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4F9CF4D-C6CF-49B0-99D7-6AE600E109E4}" type="datetime'''''''''''''''1''''2'''''''''''''''''''''''''''''''''' 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6" name="Text Placeholder">
            <a:extLst>
              <a:ext uri="{FF2B5EF4-FFF2-40B4-BE49-F238E27FC236}">
                <a16:creationId xmlns:a16="http://schemas.microsoft.com/office/drawing/2014/main" id="{5609358E-0E3A-6F40-C961-C2AC904A3AC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3792539" y="5181600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226548-B074-4CC5-8965-56BA97B92D4E}" type="datetime'''''''''2''''7'''''''''''''' ''''''%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67" name="Text Placeholder">
            <a:extLst>
              <a:ext uri="{FF2B5EF4-FFF2-40B4-BE49-F238E27FC236}">
                <a16:creationId xmlns:a16="http://schemas.microsoft.com/office/drawing/2014/main" id="{D14CFE8A-54CB-45D2-0126-2323679D3C95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5810250" y="5181600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0DB59FC-F103-4A93-8473-444556121EA4}" type="datetime'''''2''''''''''9'''' 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0" name="Text Placeholder">
            <a:extLst>
              <a:ext uri="{FF2B5EF4-FFF2-40B4-BE49-F238E27FC236}">
                <a16:creationId xmlns:a16="http://schemas.microsoft.com/office/drawing/2014/main" id="{3561D6FB-28F8-91DE-CDA9-56021BB5E584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824789" y="5181600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057B91-F698-4912-AD05-F4F4DD8A139E}" type="datetime'''''''''''''''''''''''4''''''''0'''''''''''''' 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71" name="Text Placeholder">
            <a:extLst>
              <a:ext uri="{FF2B5EF4-FFF2-40B4-BE49-F238E27FC236}">
                <a16:creationId xmlns:a16="http://schemas.microsoft.com/office/drawing/2014/main" id="{FB96A779-161B-61A6-52F7-CC8AA150B70B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9842500" y="5181600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5A5F51D-8645-461C-85B2-6CDF8CB46B3F}" type="datetime'''5''''''''0'''''''''''''''''''''''''' 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02D088-6EA6-CEBB-1812-A15B27FFED60}"/>
              </a:ext>
            </a:extLst>
          </p:cNvPr>
          <p:cNvSpPr/>
          <p:nvPr/>
        </p:nvSpPr>
        <p:spPr bwMode="gray">
          <a:xfrm rot="20783833">
            <a:off x="1668803" y="3264845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grpSp>
        <p:nvGrpSpPr>
          <p:cNvPr id="47" name="btfpRunningAgenda1Level573689">
            <a:extLst>
              <a:ext uri="{FF2B5EF4-FFF2-40B4-BE49-F238E27FC236}">
                <a16:creationId xmlns:a16="http://schemas.microsoft.com/office/drawing/2014/main" id="{D64E3FF7-2A41-6DAE-1301-EA33DDCB31AD}"/>
              </a:ext>
            </a:extLst>
          </p:cNvPr>
          <p:cNvGrpSpPr/>
          <p:nvPr>
            <p:custDataLst>
              <p:tags r:id="rId70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49" name="btfpRunningAgenda1LevelBarLeft573689">
              <a:extLst>
                <a:ext uri="{FF2B5EF4-FFF2-40B4-BE49-F238E27FC236}">
                  <a16:creationId xmlns:a16="http://schemas.microsoft.com/office/drawing/2014/main" id="{22FF4242-2378-CBE4-CD7D-3FAFE3599236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62" name="btfpRunningAgenda1LevelTextLeft573689">
              <a:extLst>
                <a:ext uri="{FF2B5EF4-FFF2-40B4-BE49-F238E27FC236}">
                  <a16:creationId xmlns:a16="http://schemas.microsoft.com/office/drawing/2014/main" id="{9F64C3CA-4865-4409-2344-2B7960F1D30A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63" name="btfpBulletedList419729">
            <a:extLst>
              <a:ext uri="{FF2B5EF4-FFF2-40B4-BE49-F238E27FC236}">
                <a16:creationId xmlns:a16="http://schemas.microsoft.com/office/drawing/2014/main" id="{04135844-78FC-0D7A-E764-E72A17FA1F2A}"/>
              </a:ext>
            </a:extLst>
          </p:cNvPr>
          <p:cNvSpPr/>
          <p:nvPr/>
        </p:nvSpPr>
        <p:spPr bwMode="gray">
          <a:xfrm>
            <a:off x="8954100" y="1"/>
            <a:ext cx="3237900" cy="17083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727E0DFB-EDD7-3F96-2941-F520B99299E2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1</a:t>
            </a: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35D39939-9673-3992-9814-34FEF8FF70FB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330199" y="5673726"/>
            <a:ext cx="1447800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6BB0E25D-A2D8-457B-842B-B60E9B5EFDF1}" type="datetime'''In''v''''es''''te''d'''''' ca''p''i''tal'' (''''''''''$''b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8B4183C3-E928-E848-D7B5-B7742AF726CD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778000" y="5673726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B2A7966-0D54-43C4-AE3E-F4FA3E93DE18}" type="datetime'''''''''9''''''''''''''''.''''''''''''0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9844C6BD-99DD-D43A-57CD-327DEA586898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792539" y="5673726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07FC0C-992E-443D-A9A1-8937B2405A02}" type="datetime'''''''1''''0''''''.''''''''''''''''''''0'''''''''''''''">
              <a:rPr lang="en-GB" altLang="en-US" sz="1200" smtClean="0">
                <a:solidFill>
                  <a:srgbClr val="000000"/>
                </a:solidFill>
              </a:rPr>
              <a:pPr/>
              <a:t>1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006FBA09-6386-A7FF-FBBA-C29EAB132C93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5810250" y="5673726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E7F283-E80F-4F9E-AC1E-2A55DEEFF020}" type="datetime'''''9''.''''''0''''''''''''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87F7DFA2-05F6-33F1-D667-7959B360C972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7824789" y="5673726"/>
            <a:ext cx="2017713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B7D7E9-6462-4B2D-B7A3-3016C8618CC6}" type="datetime'''''''''''''''''''''''''''9''''.''''''''''0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0A8A6832-755D-E807-1B04-C5A01E79640A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9842500" y="5673726"/>
            <a:ext cx="2014538" cy="2460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175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856FA3-5129-4577-BAF6-0F3B998FFE34}" type="datetime'''''''''''''''''''''''''''9''''''.''''''''''''''''0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924A881B-81BA-0A4F-7983-7B3E40A3C83A}"/>
              </a:ext>
            </a:extLst>
          </p:cNvPr>
          <p:cNvSpPr txBox="1"/>
          <p:nvPr>
            <p:custDataLst>
              <p:tags r:id="rId77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633358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7990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6" imgW="484" imgH="486" progId="TCLayout.ActiveDocument.1">
                  <p:embed/>
                </p:oleObj>
              </mc:Choice>
              <mc:Fallback>
                <p:oleObj name="think-cell Slide" r:id="rId46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invested capital</a:t>
            </a: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C2CE7DE0-E3A4-C45C-F9FE-004A3A231AE8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921304"/>
              </p:ext>
            </p:extLst>
          </p:nvPr>
        </p:nvGraphicFramePr>
        <p:xfrm>
          <a:off x="1300163" y="1519238"/>
          <a:ext cx="10639425" cy="35623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8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019174" y="4724400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DA71E52-A596-4CE1-A671-20CF7742EF13}" type="datetime'''''''0'''' ''''''''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CBD45089-943A-36B8-BCB6-165FC7BF892C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935038" y="411797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D64A1D1A-750F-4F17-A13A-A37134EB5394}" type="datetime'2''''''''''''''''''''''''''''''0'''''''' 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131D7ED-D007-8E45-C4C0-11441E9AB908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935038" y="35131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3C016BB-56EE-48F4-A255-4143EEB3CEC0}" type="datetime'''''''''''''''''''4''''''''''''''''''''0'''' 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A65F5AF5-9616-17EA-6EB0-74A1ABF4802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935038" y="290671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BD93BED-4CB8-41B9-807B-F8D895687B0E}" type="datetime'''''''''6''0'''''''''''''''' ''''''''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0C6DF59D-E1D0-5142-24BC-1B32934484E7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935038" y="230187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B647C07-DD50-401B-9928-EA2A7DA48E02}" type="datetime'8''''''''''''''''''''''''0'''''''''''''''''''''' 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850900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D967ECD-15BB-4994-A7BB-9D6256C4BDFB}" type="datetime'''''''''''1''0''0'''''''''''''''''''''''''''''''' 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850900" y="1390650"/>
            <a:ext cx="45497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invested capital, 2019-2023 (%)</a:t>
            </a: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9152E394-3252-79DE-E045-7651C7E99B3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235200" y="381476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00E6540-2E0E-471A-BA65-A8588B0730DC}" type="datetime'1''''''''9'''''''' ''''''''''''''''%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AB1C5CED-B60A-63B3-F305-B828CEB50AD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235200" y="275113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55809D-7EEA-41AA-95AB-4AD7B88F3DD2}" type="datetime'''1''''''''''4'''''''' ''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92AE982F-DAFB-E84F-E883-34EE9BBA2F16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329113" y="39465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3A093C3-8620-45FA-A8B9-1045A8CEAE2D}" type="datetime'''2''''''''''''0'''' ''''%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5" name="Text Placeholder">
            <a:extLst>
              <a:ext uri="{FF2B5EF4-FFF2-40B4-BE49-F238E27FC236}">
                <a16:creationId xmlns:a16="http://schemas.microsoft.com/office/drawing/2014/main" id="{43D5D1A6-C004-3D56-0CE5-DFF8E2AB2060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371974" y="2890838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D0A8C8-3B9B-41DB-9091-872A3A70E2CF}" type="datetime'''''''''''''''''''''''''''''''9'''''''''' ''%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55CA1171-D715-0F89-4EF2-5D6598A68E22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6424613" y="41973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E85CD47-BB5D-443C-9D6B-E71FDA972E87}" type="datetime'''''''''''15'''''''''''''''''''''' ''''%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357072C9-2167-48A5-ABC0-E8B698013FC2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6424613" y="32893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77B545-AD16-459B-BAD8-BFF598833579}" type="datetime'1''''''5'''' ''''''''''''''''''''''''''%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D1FF2191-9FBC-5AB2-2ECD-51D0C4B007CA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8270874" y="4659313"/>
            <a:ext cx="3063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CA49878-8A62-4FE9-B3B4-2A48BA6B9238}" type="datetime'''''''''''''''''''''''''''''4'''''''''''''''''' 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9" name="Text Placeholder">
            <a:extLst>
              <a:ext uri="{FF2B5EF4-FFF2-40B4-BE49-F238E27FC236}">
                <a16:creationId xmlns:a16="http://schemas.microsoft.com/office/drawing/2014/main" id="{4530640F-FD17-8F6D-402F-959DE04DC1C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8853487" y="448310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C1BDBD-8D90-4A0F-96EF-81DC37D67CC9}" type="datetime'''''''''''''''''''''''''''''7'' ''''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A0C69CA-B55A-8E9A-2D06-9CDFA8E6ABAF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8518525" y="38544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28C63C-33ED-4D78-92FA-1518AFCD0C7C}" type="datetime'''''''''''''''''''''''1''''''''''''9 ''''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5A0A2F40-558E-1ED4-3791-339D621037E9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10366374" y="4659313"/>
            <a:ext cx="3063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B243307-45C6-45C6-A371-714EDB0605C2}" type="datetime'4'''''' ''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0" name="Text Placeholder">
            <a:extLst>
              <a:ext uri="{FF2B5EF4-FFF2-40B4-BE49-F238E27FC236}">
                <a16:creationId xmlns:a16="http://schemas.microsoft.com/office/drawing/2014/main" id="{BDEFBB8E-C581-EAD9-22AE-99A123D7A4DE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0948987" y="448310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CFD075-47AA-4212-98D8-A9D530C1A621}" type="datetime'7'''''''''''''''''''''''' ''''''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A786F3B5-1A81-59F3-DF24-1CA7A01E7B4F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614025" y="39274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363630-427F-4E28-9159-6F9030672723}" type="datetime'''''''''''1''''''''''''''''4'''''''' 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1382713" y="4906963"/>
            <a:ext cx="20939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832718-A591-427E-8BB3-A22E6AB84994}" type="datetime'''''''''2''''''''''''''''''0''''''''1''9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572125" y="4906963"/>
            <a:ext cx="20955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375E9A-205E-403F-A319-B03A902BB084}" type="datetime'''''''''''''''''''''''''2''''''''''''''''''02''''''''''1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7667625" y="4906963"/>
            <a:ext cx="20955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5B5AA2B-111A-4514-8E9A-3C0393E909ED}" type="datetime'''''''''''''2''''''''''''''''''0''''''''''''''''2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3476625" y="4906963"/>
            <a:ext cx="20955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54285C-2631-4596-9F86-CB5CFB4D0F75}" type="datetime'''20''''''''''''2''''0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9763125" y="4906963"/>
            <a:ext cx="2093913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809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51181B2-839F-434A-AB78-6E977787636E}" type="datetime'''''''''''''''''''2''''''''0''''''''''''2''''''''3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29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724219F-3816-BCFC-5FEE-EE5014CB6A14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6004805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64323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109530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109530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59341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109530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82396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109530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82396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109530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82396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330201" y="5230813"/>
            <a:ext cx="10525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57104068-ACBE-AD33-84F9-2F7344C604B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1382713" y="5230813"/>
            <a:ext cx="20939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D68868-8029-4260-AED2-9EE1E00EC0ED}" type="datetime'''''''''1''''''4'''''' 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790B62F4-6586-68A1-91FB-B332BAFFF09B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3476625" y="5230813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29738B6-7378-4BB1-95AE-87A61B7077EE}" type="datetime'2''''''''''6'''''''''''''''''''''' ''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21101E8D-D527-DA00-77CE-8F01192C95C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5572125" y="5230813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ABE54B7-6AB9-402B-AB37-6EBC0ABB7A69}" type="datetime'''''''3''''''0 ''%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A74A7FE4-5BF7-FDAA-0BA5-5F7410862DBB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7667625" y="5230813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41C6EF1-9997-4A67-8AF5-A889F2141E51}" type="datetime'''''''''''''''''''''''''''''''''''''''''''4''3 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AAD7EB4A-5996-8F44-A07C-157BE1861A13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9763125" y="5230813"/>
            <a:ext cx="20939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56F44E-5A55-4A2C-ADF7-F71C0C7BE190}" type="datetime'''''''''''5''''''''2'''''''''''' 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741F7BA0-340B-397D-6291-744440EEB8E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30201" y="5575299"/>
            <a:ext cx="10525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8DD2FA71-A956-4284-B7BE-F6A871D44C0F}" type="datetime'''''#'' ''''''o''''f'' ''''''''''P''ort''''''''''C''os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A13886C4-898D-9893-BA9D-779F23BE87A4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382713" y="5575299"/>
            <a:ext cx="20939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97CE278-D2FC-45E1-92A5-C36C362FE5B7}" type="datetime'2''''''''''''''''''''''''''''''''''0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51F78938-E4C4-FB11-58F7-4753C27CE04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3476625" y="5575299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C82D66E-4E46-46FD-B0A1-AFC2ADEDD67C}" type="datetime'2''''''''''''''''''''''''2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0D53BC90-F88C-9D93-C72F-457A6E7FBE6D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5572125" y="5575299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AAE872E-7CD6-4B9D-96F4-52B06AD1B5DE}" type="datetime'''''''''''''''''''''''''2''''''''1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18CED760-AF58-2D0B-F0BD-C4BF67BB297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7667625" y="5575299"/>
            <a:ext cx="2095500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E9C4AD4-C35D-448A-B818-72D38FD84676}" type="datetime'''2''''''''''2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78449EED-037A-D62C-36F3-7659D3BE53C4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9763125" y="5575299"/>
            <a:ext cx="2093913" cy="3444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80963" rIns="0" bIns="809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B83F1A6-9F25-4C1E-9907-F768DFB1A177}" type="datetime'''''''''''''''2''''2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109530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82396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109530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" name="btfpBulletedList142467">
            <a:extLst>
              <a:ext uri="{FF2B5EF4-FFF2-40B4-BE49-F238E27FC236}">
                <a16:creationId xmlns:a16="http://schemas.microsoft.com/office/drawing/2014/main" id="{EBAE5DA2-C68B-866D-07BF-98579244D853}"/>
              </a:ext>
            </a:extLst>
          </p:cNvPr>
          <p:cNvSpPr/>
          <p:nvPr/>
        </p:nvSpPr>
        <p:spPr bwMode="gray">
          <a:xfrm>
            <a:off x="8954100" y="0"/>
            <a:ext cx="3237900" cy="14541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81" name="btfpRunningAgenda1Level573689">
            <a:extLst>
              <a:ext uri="{FF2B5EF4-FFF2-40B4-BE49-F238E27FC236}">
                <a16:creationId xmlns:a16="http://schemas.microsoft.com/office/drawing/2014/main" id="{A7B3B4A0-2AFD-ABBB-4F14-17A7A7ABCDBF}"/>
              </a:ext>
            </a:extLst>
          </p:cNvPr>
          <p:cNvGrpSpPr/>
          <p:nvPr>
            <p:custDataLst>
              <p:tags r:id="rId42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82" name="btfpRunningAgenda1LevelBarLeft573689">
              <a:extLst>
                <a:ext uri="{FF2B5EF4-FFF2-40B4-BE49-F238E27FC236}">
                  <a16:creationId xmlns:a16="http://schemas.microsoft.com/office/drawing/2014/main" id="{ED4AE225-AA28-3E0C-E667-3F228336B023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84" name="btfpRunningAgenda1LevelTextLeft573689">
              <a:extLst>
                <a:ext uri="{FF2B5EF4-FFF2-40B4-BE49-F238E27FC236}">
                  <a16:creationId xmlns:a16="http://schemas.microsoft.com/office/drawing/2014/main" id="{0DF6BBA5-B9C0-19A0-03AD-93F854DC4E5B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85" name="Oval 84">
            <a:extLst>
              <a:ext uri="{FF2B5EF4-FFF2-40B4-BE49-F238E27FC236}">
                <a16:creationId xmlns:a16="http://schemas.microsoft.com/office/drawing/2014/main" id="{4327514F-A7D6-C7AE-8BF2-49F436A61CCB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6" name="btfpNotesBox623158">
            <a:extLst>
              <a:ext uri="{FF2B5EF4-FFF2-40B4-BE49-F238E27FC236}">
                <a16:creationId xmlns:a16="http://schemas.microsoft.com/office/drawing/2014/main" id="{17AB202F-7F6A-E63A-C4B2-231B106C2A5A}"/>
              </a:ext>
            </a:extLst>
          </p:cNvPr>
          <p:cNvSpPr txBox="1"/>
          <p:nvPr>
            <p:custDataLst>
              <p:tags r:id="rId43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</a:t>
            </a:r>
            <a:r>
              <a:rPr lang="en-GB" sz="800" dirty="0">
                <a:solidFill>
                  <a:srgbClr val="000000"/>
                </a:solidFill>
              </a:rPr>
              <a:t>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4709544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772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9" imgW="484" imgH="486" progId="TCLayout.ActiveDocument.1">
                  <p:embed/>
                </p:oleObj>
              </mc:Choice>
              <mc:Fallback>
                <p:oleObj name="think-cell Slide" r:id="rId79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invested capital</a:t>
            </a:r>
          </a:p>
        </p:txBody>
      </p:sp>
      <p:graphicFrame>
        <p:nvGraphicFramePr>
          <p:cNvPr id="139" name="Chart 138">
            <a:extLst>
              <a:ext uri="{FF2B5EF4-FFF2-40B4-BE49-F238E27FC236}">
                <a16:creationId xmlns:a16="http://schemas.microsoft.com/office/drawing/2014/main" id="{615093EC-A4DB-D710-CAC8-6D9D13474614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84222832"/>
              </p:ext>
            </p:extLst>
          </p:nvPr>
        </p:nvGraphicFramePr>
        <p:xfrm>
          <a:off x="1519238" y="1703388"/>
          <a:ext cx="10420350" cy="3049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1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1416050" y="4579938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CF4581B-5032-4A60-A89F-C343A2FFA599}" type="datetime'''''''''''0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9" name="Text Placeholder">
            <a:extLst>
              <a:ext uri="{FF2B5EF4-FFF2-40B4-BE49-F238E27FC236}">
                <a16:creationId xmlns:a16="http://schemas.microsoft.com/office/drawing/2014/main" id="{0CB4B3A7-B99E-85B1-6B84-82CE394AC36E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416050" y="40036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EF074FB-12B8-46A9-ABE0-7CD450578D9B}" type="datetime'2''''''''''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0" name="Text Placeholder">
            <a:extLst>
              <a:ext uri="{FF2B5EF4-FFF2-40B4-BE49-F238E27FC236}">
                <a16:creationId xmlns:a16="http://schemas.microsoft.com/office/drawing/2014/main" id="{2DE18BC4-6F9A-3458-A665-56F5B2780399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416050" y="34258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191D4F88-7EE1-47EB-8420-D1C692CE323F}" type="datetime'''''''''''''''''''''''''''''''4'''">
              <a:rPr lang="en-GB" altLang="en-US" sz="1200" smtClean="0">
                <a:solidFill>
                  <a:srgbClr val="000000"/>
                </a:solidFill>
              </a:rPr>
              <a:pPr/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B40E30CA-5D12-B5FD-9D4C-06BA718D4B7A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416050" y="284956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CBBB7E8-64D5-4013-BDE7-CA6ADAF20E2D}" type="datetime'''''''''''''6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1FEB450B-768A-9128-E513-F3F44D97FFC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416050" y="2271713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33FE344-639A-4553-8294-944A14084DC0}" type="datetime'8''''''''''''''''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9CAF10BD-185A-E5C5-E9C0-32ABE94D5A92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331913" y="1695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0B1B8C6D-84D6-4129-A9B4-D4328EA88C98}" type="datetime'''''''''''''''''''''''10'''''''''''''''''''''''''''''''">
              <a:rPr lang="en-GB" altLang="en-US" sz="1200" smtClean="0">
                <a:solidFill>
                  <a:srgbClr val="000000"/>
                </a:solidFill>
              </a:rPr>
              <a:pPr/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9C0F5B9C-2EA9-9F08-63BE-03E7F1EAA7F7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2500313" y="43195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7A1550A-AE5D-40DE-ABCD-787411C1D912}" type="datetime'''''''''''''''''''''''''''1''''''.''''''''''''''''''''8'''''''">
              <a:rPr lang="en-GB" altLang="en-US" sz="1200" smtClean="0">
                <a:solidFill>
                  <a:srgbClr val="000000"/>
                </a:solidFill>
              </a:rPr>
              <a:pPr/>
              <a:t>1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9152E394-3252-79DE-E045-7651C7E99B34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2500313" y="3822700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D84C772-C6C6-479F-930E-891EC4BDF09A}" type="datetime'''''''''''''1.''''''''''''''''''''''''''7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EEC325E0-EA53-C0F8-DDA4-AFDFAB316BA0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2500313" y="334645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A6D72A-DB48-48C2-B08F-E9DF6CF64852}" type="datetime'''1''''''''''''''''''''''''''''''''''''''''''''.7'''''''''''''">
              <a:rPr lang="en-GB" altLang="en-US" sz="1200" smtClean="0">
                <a:solidFill>
                  <a:srgbClr val="000000"/>
                </a:solidFill>
              </a:rPr>
              <a:pPr/>
              <a:t>1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AB1C5CED-B60A-63B3-F305-B828CEB50AD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500313" y="293528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74585D9-F121-4955-B9F0-A0D561640E15}" type="datetime'''''''''''''''''''1''.''''''''''''''''''''''2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9" name="Text Placeholder">
            <a:extLst>
              <a:ext uri="{FF2B5EF4-FFF2-40B4-BE49-F238E27FC236}">
                <a16:creationId xmlns:a16="http://schemas.microsoft.com/office/drawing/2014/main" id="{3D6C607E-AFB0-2A79-5670-70F12B6AD2CE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500313" y="25892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6C4668E-2679-47DF-A499-7AFF918E7F13}" type="datetime'''''''''1''''''''''''''''''''''''''''''''''''.''2'''''''''''">
              <a:rPr lang="en-GB" altLang="en-US" sz="1200" smtClean="0">
                <a:solidFill>
                  <a:srgbClr val="000000"/>
                </a:solidFill>
              </a:rPr>
              <a:pPr/>
              <a:t>1.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A2FEBED-B3A3-4B53-BCDC-C40E8372BD2C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551363" y="43640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8814050-1350-4F51-B8C3-6625D9D06B24}" type="datetime'''''1''''.''''''''''''''''''''5'''''''''''''''''''''''''''">
              <a:rPr lang="en-GB" altLang="en-US" sz="1200" smtClean="0">
                <a:solidFill>
                  <a:srgbClr val="000000"/>
                </a:solidFill>
              </a:rPr>
              <a:pPr/>
              <a:t>1.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92AE982F-DAFB-E84F-E883-34EE9BBA2F1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551363" y="3865563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5E69632-F121-4275-ABB8-0AEF71C46BBE}" type="datetime'''''''''''''2''.''''''''''''''''''''''''''''0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Text Placeholder">
            <a:extLst>
              <a:ext uri="{FF2B5EF4-FFF2-40B4-BE49-F238E27FC236}">
                <a16:creationId xmlns:a16="http://schemas.microsoft.com/office/drawing/2014/main" id="{9C8580F5-657E-0A9A-C280-16D1EF6E343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551363" y="33035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5D25F2-25CD-4316-A571-DF1226E10406}" type="datetime'''''''''''''''''''''''2''''''''''''''''''''''.''0'''''''''''''">
              <a:rPr lang="en-GB" altLang="en-US" sz="1200" smtClean="0">
                <a:solidFill>
                  <a:srgbClr val="000000"/>
                </a:solidFill>
              </a:rPr>
              <a:pPr/>
              <a:t>2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5" name="Text Placeholder">
            <a:extLst>
              <a:ext uri="{FF2B5EF4-FFF2-40B4-BE49-F238E27FC236}">
                <a16:creationId xmlns:a16="http://schemas.microsoft.com/office/drawing/2014/main" id="{43D5D1A6-C004-3D56-0CE5-DFF8E2AB2060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551363" y="2895600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BB37B9-1910-467F-AD8F-8347C12B2B07}" type="datetime'0''''''''''''.''''''''''''9'">
              <a:rPr lang="en-GB" altLang="en-US" sz="1200" smtClean="0">
                <a:solidFill>
                  <a:srgbClr val="000000"/>
                </a:solidFill>
                <a:effectLst/>
              </a:rPr>
              <a:pPr/>
              <a:t>0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9" name="Text Placeholder">
            <a:extLst>
              <a:ext uri="{FF2B5EF4-FFF2-40B4-BE49-F238E27FC236}">
                <a16:creationId xmlns:a16="http://schemas.microsoft.com/office/drawing/2014/main" id="{C98D60EF-D705-5C65-00BD-1C9D763B9FD0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551363" y="23002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32E545B-118A-44B7-BB73-CF884CED1F33}" type="datetime'''''''''''''''''''''''''''''''1''''.''''''''''''''''''''''5'">
              <a:rPr lang="en-GB" altLang="en-US" sz="1200" smtClean="0">
                <a:solidFill>
                  <a:srgbClr val="FFFFFF"/>
                </a:solidFill>
              </a:rPr>
              <a:pPr/>
              <a:t>1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70" name="Text Placeholder">
            <a:extLst>
              <a:ext uri="{FF2B5EF4-FFF2-40B4-BE49-F238E27FC236}">
                <a16:creationId xmlns:a16="http://schemas.microsoft.com/office/drawing/2014/main" id="{7E4AEF16-7A5C-8F09-5EC4-FCD77A23824E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551363" y="19399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EFAE985-5661-4457-BD2B-392F2FB8C4CE}" type="datetime'''''''''''''''''''''''''''''''''''''''''''''1.''''0'''">
              <a:rPr lang="en-GB" altLang="en-US" sz="1200" smtClean="0">
                <a:solidFill>
                  <a:srgbClr val="FFFFFF"/>
                </a:solidFill>
              </a:rPr>
              <a:pPr/>
              <a:t>1.0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55CA1171-D715-0F89-4EF2-5D6598A68E22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602413" y="4125913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4D79199-BC0C-4487-AE18-940170EC5EE9}" type="datetime'''''1''''.4''''''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55DDDEA8-AB1B-DFAD-D57F-6584CAD0D07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602413" y="37353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8EF46AF-6A5C-4B95-937E-575392D7BA15}" type="datetime'''''''''''''''''1''''''''''.''''''4'''''''''''''''">
              <a:rPr lang="en-GB" altLang="en-US" sz="1200" smtClean="0">
                <a:solidFill>
                  <a:srgbClr val="000000"/>
                </a:solidFill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357072C9-2167-48A5-ABC0-E8B698013FC2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6602413" y="3343275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1690B87-AF5F-4942-B06F-DA534D721EDA}" type="datetime'''''1''''''''''.''''4''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374D3B57-AD3E-02F0-CE95-4CA4742A7294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6534150" y="2946400"/>
            <a:ext cx="3905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AF8DDA8-D083-4791-9DA2-39111208F02D}" type="datetime'''''''''1''''''''''''''5'''''' ''''%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A6B92F9F-81B3-57F2-17AD-21C19B808A6C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6602413" y="25384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69260E4-07CA-41C1-B54F-83B8290F69CD}" type="datetime'''''''''''''''''1''''''.''''''''5'''''''''''''''''''''''''''''">
              <a:rPr lang="en-GB" altLang="en-US" sz="1200" smtClean="0">
                <a:solidFill>
                  <a:srgbClr val="FFFFFF"/>
                </a:solidFill>
              </a:rPr>
              <a:pPr/>
              <a:t>1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9C399770-858B-5634-51FE-836D0FA4DCE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602413" y="21494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36DD67E-781C-4AA0-B673-FBC1777FB53C}" type="datetime'''''''''''''''''''1.''''''''''''''''''''''''3'''''">
              <a:rPr lang="en-GB" altLang="en-US" sz="1200" smtClean="0">
                <a:solidFill>
                  <a:srgbClr val="FFFFFF"/>
                </a:solidFill>
              </a:rPr>
              <a:pPr/>
              <a:t>1.3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D1FF2191-9FBC-5AB2-2ECD-51D0C4B007C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369300" y="4522788"/>
            <a:ext cx="2555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D89FFE-B56F-406C-ABCC-464C995A1492}" type="datetime'''''''''''''''''''''''0''''''''.''''''''4''''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C525CD86-458B-A79D-D3B0-82C3F7345E5D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8939213" y="436403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6411BBA-A069-4A6B-80AD-1CDF572814E2}" type="datetime'''''''''''''''''''''''''''''''''0.7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A0C69CA-B55A-8E9A-2D06-9CDFA8E6ABAF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8653463" y="3800475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B5AE0A-346D-4FBB-9F3C-5FC478E78B54}" type="datetime'''''''''''''1''''''''''''''.8''''''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2" name="Text Placeholder">
            <a:extLst>
              <a:ext uri="{FF2B5EF4-FFF2-40B4-BE49-F238E27FC236}">
                <a16:creationId xmlns:a16="http://schemas.microsoft.com/office/drawing/2014/main" id="{27C3248F-84F6-FD6A-FA8B-8CCA57549942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8653463" y="32813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D91FA54-2DC2-4F5B-912B-39AE762D35ED}" type="datetime'''''''''1''''''.''''''''8'''''''''''''''''''''''''''">
              <a:rPr lang="en-GB" altLang="en-US" sz="1200" smtClean="0">
                <a:solidFill>
                  <a:srgbClr val="000000"/>
                </a:solidFill>
              </a:rPr>
              <a:pPr/>
              <a:t>1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3" name="Text Placeholder">
            <a:extLst>
              <a:ext uri="{FF2B5EF4-FFF2-40B4-BE49-F238E27FC236}">
                <a16:creationId xmlns:a16="http://schemas.microsoft.com/office/drawing/2014/main" id="{72AC2892-0A42-584B-216A-A1572C93D1BE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8653463" y="26685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8CFE8B0-365E-48A8-B84F-F4B544D2A31E}" type="datetime'''''''''''''''''''''''''''''2''.''''''''5'''''''''''''''''">
              <a:rPr lang="en-GB" altLang="en-US" sz="1200" smtClean="0">
                <a:solidFill>
                  <a:srgbClr val="FFFFFF"/>
                </a:solidFill>
              </a:rPr>
              <a:pPr/>
              <a:t>2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94" name="Text Placeholder">
            <a:extLst>
              <a:ext uri="{FF2B5EF4-FFF2-40B4-BE49-F238E27FC236}">
                <a16:creationId xmlns:a16="http://schemas.microsoft.com/office/drawing/2014/main" id="{83765BC8-5BAB-5117-73B5-5AFC542EE4D4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8653463" y="20923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08DF6A-2FE5-4F9B-9219-80AB2F7E19B9}" type="datetime'''''''''1''.''''''6'''''''''''''''''">
              <a:rPr lang="en-GB" altLang="en-US" sz="1200" smtClean="0">
                <a:solidFill>
                  <a:srgbClr val="FFFFFF"/>
                </a:solidFill>
              </a:rPr>
              <a:pPr/>
              <a:t>1.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5A0A2F40-558E-1ED4-3791-339D621037E9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10420350" y="4522788"/>
            <a:ext cx="2555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4EDF8E7-365D-497C-99C3-719E6C726684}" type="datetime'''''''''''''''''''0''''''''''''''''''''.''''4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0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7" name="Text Placeholder">
            <a:extLst>
              <a:ext uri="{FF2B5EF4-FFF2-40B4-BE49-F238E27FC236}">
                <a16:creationId xmlns:a16="http://schemas.microsoft.com/office/drawing/2014/main" id="{5AFC0E0E-686A-F3D8-3624-1CBB7E4279F1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10990263" y="4364038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17DD4D-BDCF-4611-A988-0CF10200399C}" type="datetime'''''''''''''''0''''''''''''.''''7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A786F3B5-1A81-59F3-DF24-1CA7A01E7B4F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10704513" y="3865563"/>
            <a:ext cx="255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F9D9D6-AF93-4BF6-9C0A-F14D646A85F7}" type="datetime'''''''''''''''''''''''''1''.''''''''''''''''''''''''''''''4'">
              <a:rPr lang="en-GB" altLang="en-US" sz="1200" smtClean="0">
                <a:solidFill>
                  <a:srgbClr val="000000"/>
                </a:solidFill>
                <a:effectLst/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6" name="Text Placeholder">
            <a:extLst>
              <a:ext uri="{FF2B5EF4-FFF2-40B4-BE49-F238E27FC236}">
                <a16:creationId xmlns:a16="http://schemas.microsoft.com/office/drawing/2014/main" id="{465BB058-56DE-FE0B-9720-437E51A64802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10704513" y="347662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50E0A6E-F93D-4472-85B5-532725FAE14B}" type="datetime'''''''''''''''''''1''''''''''''''.4'''''''''''">
              <a:rPr lang="en-GB" altLang="en-US" sz="1200" smtClean="0">
                <a:solidFill>
                  <a:srgbClr val="000000"/>
                </a:solidFill>
              </a:rPr>
              <a:pPr/>
              <a:t>1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7" name="Text Placeholder">
            <a:extLst>
              <a:ext uri="{FF2B5EF4-FFF2-40B4-BE49-F238E27FC236}">
                <a16:creationId xmlns:a16="http://schemas.microsoft.com/office/drawing/2014/main" id="{40E8AA26-99B9-3F34-06BA-610DA2CC2416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10704513" y="2921000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1E407DE-4B59-4B3A-90E4-413171211179}" type="datetime'''''''''''2''''''.''''''5'''''''''''''''">
              <a:rPr lang="en-GB" altLang="en-US" sz="1200" smtClean="0">
                <a:solidFill>
                  <a:srgbClr val="FFFFFF"/>
                </a:solidFill>
              </a:rPr>
              <a:pPr/>
              <a:t>2.5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1331913" y="1390650"/>
            <a:ext cx="45831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invested capital, 2019-2023 ($b)</a:t>
            </a: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4A73274-BB8F-EFF5-7693-A9B57847F244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2500313" y="19383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F7227F1-C78E-4C26-8FD8-5EDF7C5AE8F5}" type="datetime'''''''''''''''''''''''''''''8''''.''''8'''''''''''''''''''''''">
              <a:rPr lang="en-GB" altLang="en-US" sz="1200" smtClean="0">
                <a:solidFill>
                  <a:srgbClr val="000000"/>
                </a:solidFill>
              </a:rPr>
              <a:pPr/>
              <a:t>8.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4CEFDEF5-6680-A73A-AFD8-92E812E1698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551362" y="16795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E72BB32-46C6-487F-B4A5-83EC769DDD76}" type="datetime'''''''''''''''''''''''''9''''''.''''7'">
              <a:rPr lang="en-GB" altLang="en-US" sz="1200" smtClean="0">
                <a:solidFill>
                  <a:srgbClr val="000000"/>
                </a:solidFill>
              </a:rPr>
              <a:pPr/>
              <a:t>9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2D86FAE9-D129-0E38-91AD-A2007D25C775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6602413" y="18526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FAFC957-1383-417B-9A0A-024BA64E0A00}" type="datetime'''''''''''''''''9.''''''''1'''''''''''">
              <a:rPr lang="en-GB" altLang="en-US" sz="1200" smtClean="0">
                <a:solidFill>
                  <a:srgbClr val="000000"/>
                </a:solidFill>
              </a:rPr>
              <a:pPr/>
              <a:t>9.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B4D4F4A3-903C-A138-B46A-266E502995BA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8653463" y="17510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841542-4289-4214-B53E-B5DE6C6C46E1}" type="datetime'''''''''9''''''''''''''''''''.''''''''''''''''4'''''''''">
              <a:rPr lang="en-GB" altLang="en-US" sz="1200" smtClean="0">
                <a:solidFill>
                  <a:srgbClr val="000000"/>
                </a:solidFill>
              </a:rPr>
              <a:pPr/>
              <a:t>9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6FBF137-9F3F-A588-1B04-D1A3DF24C0F6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10704513" y="175101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3AB8EA6-F722-4DBC-9F23-6456048EF936}" type="datetime'''''''9''''''''''''''''''.''''''''''4'''''''''''">
              <a:rPr lang="en-GB" altLang="en-US" sz="1200" smtClean="0">
                <a:solidFill>
                  <a:srgbClr val="000000"/>
                </a:solidFill>
              </a:rPr>
              <a:pPr/>
              <a:t>9.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8" name="Text Placeholder">
            <a:extLst>
              <a:ext uri="{FF2B5EF4-FFF2-40B4-BE49-F238E27FC236}">
                <a16:creationId xmlns:a16="http://schemas.microsoft.com/office/drawing/2014/main" id="{07779A77-B359-5DE4-3EA3-91CBEB3155E4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10704513" y="22145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3519324-CF95-43EE-93E9-CB2C3B614DA3}" type="datetime'''''2''''''''''''''''''''''''''.4'''''''''''''''''">
              <a:rPr lang="en-GB" altLang="en-US" sz="1200" smtClean="0">
                <a:solidFill>
                  <a:srgbClr val="FFFFFF"/>
                </a:solidFill>
              </a:rPr>
              <a:pPr/>
              <a:t>2.4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19" name="Text Placeholder">
            <a:extLst>
              <a:ext uri="{FF2B5EF4-FFF2-40B4-BE49-F238E27FC236}">
                <a16:creationId xmlns:a16="http://schemas.microsoft.com/office/drawing/2014/main" id="{FFB50EDD-8D05-0BD4-1125-086BF83E3ACB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2500313" y="21351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B63BBD-47C1-4E08-BF19-8B9566D9841B}" type="datetime'''''''''''''0.''''''''''''''''6'''''''''''''''''">
              <a:rPr lang="en-GB" altLang="en-US" sz="1200" smtClean="0">
                <a:solidFill>
                  <a:srgbClr val="FFFFFF"/>
                </a:solidFill>
              </a:rPr>
              <a:pPr/>
              <a:t>0.6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120" name="Text Placeholder">
            <a:extLst>
              <a:ext uri="{FF2B5EF4-FFF2-40B4-BE49-F238E27FC236}">
                <a16:creationId xmlns:a16="http://schemas.microsoft.com/office/drawing/2014/main" id="{A923CF4D-8902-C1B1-A82E-94E77B37F123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4551363" y="264318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2810064-3EB7-4B49-9447-E4EDEEA10279}" type="datetime'''''''''''''''''''''''''0''''.''''''''''''''''''9'''">
              <a:rPr lang="en-GB" altLang="en-US" sz="1200" smtClean="0">
                <a:solidFill>
                  <a:srgbClr val="000000"/>
                </a:solidFill>
              </a:rPr>
              <a:pPr/>
              <a:t>0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1" name="Text Placeholder">
            <a:extLst>
              <a:ext uri="{FF2B5EF4-FFF2-40B4-BE49-F238E27FC236}">
                <a16:creationId xmlns:a16="http://schemas.microsoft.com/office/drawing/2014/main" id="{4F3BF936-C880-F689-BC6F-CDD2A9369283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6602413" y="4449763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AF06DD-AC6F-4A86-8210-1E3D5F1AB6EA}" type="datetime'''''''''''''''''''0''''''''''''''''''''''''''''''''''.''''9'">
              <a:rPr lang="en-GB" altLang="en-US" sz="1200" smtClean="0">
                <a:solidFill>
                  <a:srgbClr val="000000"/>
                </a:solidFill>
              </a:rPr>
              <a:pPr/>
              <a:t>0.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2" name="Text Placeholder">
            <a:extLst>
              <a:ext uri="{FF2B5EF4-FFF2-40B4-BE49-F238E27FC236}">
                <a16:creationId xmlns:a16="http://schemas.microsoft.com/office/drawing/2014/main" id="{C5F6E6E0-5C6E-3565-CC95-CA15E5B18E51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8653463" y="41608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FEADE45-CFBF-4EAF-9DBD-036723442D3D}" type="datetime'0.''''''7''''''''''''''''''''''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3" name="Text Placeholder">
            <a:extLst>
              <a:ext uri="{FF2B5EF4-FFF2-40B4-BE49-F238E27FC236}">
                <a16:creationId xmlns:a16="http://schemas.microsoft.com/office/drawing/2014/main" id="{B63C1398-CC80-CE88-D33C-DC474B744E96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10704513" y="4160838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9026697-7029-49C6-95C7-A4BAE4F36D06}" type="datetime'''''''''''''''''''''''''''''''0''''''''''''''.7'''''''''''">
              <a:rPr lang="en-GB" altLang="en-US" sz="1200" smtClean="0">
                <a:solidFill>
                  <a:srgbClr val="000000"/>
                </a:solidFill>
              </a:rPr>
              <a:pPr/>
              <a:t>0.7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8" name="Text Placeholder">
            <a:extLst>
              <a:ext uri="{FF2B5EF4-FFF2-40B4-BE49-F238E27FC236}">
                <a16:creationId xmlns:a16="http://schemas.microsoft.com/office/drawing/2014/main" id="{5A8EB53C-F1E9-B1C6-A25F-5B9D2B9BBDB3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2500313" y="2314575"/>
            <a:ext cx="2555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72BDA91-C262-4120-93F2-C937C3319B1C}" type="datetime'''''''''''''''''''''''0''''''''''''.''''7'''">
              <a:rPr lang="en-GB" altLang="en-US" sz="1200" smtClean="0">
                <a:solidFill>
                  <a:srgbClr val="FFFFFF"/>
                </a:solidFill>
              </a:rPr>
              <a:pPr/>
              <a:t>0.7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601788" y="4762500"/>
            <a:ext cx="2051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C975A48-552A-4DFB-9F70-DC657BFCF097}" type="datetime'''''2''''''''''0''''''''''''1''''''9'''''''''''''''''''''''''">
              <a:rPr lang="en-GB" altLang="en-US" sz="1200" smtClean="0">
                <a:solidFill>
                  <a:srgbClr val="000000"/>
                </a:solidFill>
              </a:rPr>
              <a:pPr/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5703888" y="4762500"/>
            <a:ext cx="2051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4BB71F9-9750-4279-AA45-182BD133678C}" type="datetime'''2''''''''''0''2''1'''''''''">
              <a:rPr lang="en-GB" altLang="en-US" sz="1200" smtClean="0">
                <a:solidFill>
                  <a:srgbClr val="000000"/>
                </a:solidFill>
              </a:rPr>
              <a:pPr/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7754938" y="4762500"/>
            <a:ext cx="2051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B6CD9E5-7FA6-40FE-AB7D-72BDD3C86A09}" type="datetime'2''''''''''02''''''''''''''''''''''''''2'''''''''''''''''''">
              <a:rPr lang="en-GB" altLang="en-US" sz="1200" smtClean="0">
                <a:solidFill>
                  <a:srgbClr val="000000"/>
                </a:solidFill>
              </a:rPr>
              <a:pPr/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3652838" y="4762500"/>
            <a:ext cx="2051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C0D5B93-1B52-47E9-A51A-DDE7C71AE7D7}" type="datetime'''''''''''2''''''''0''2''''''''''0'''''''''''''''''''">
              <a:rPr lang="en-GB" altLang="en-US" sz="1200" smtClean="0">
                <a:solidFill>
                  <a:srgbClr val="000000"/>
                </a:solidFill>
              </a:rPr>
              <a:pPr/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9805988" y="4762500"/>
            <a:ext cx="20510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30163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DCC10D5-26E5-4E43-89D6-93053E17EC2D}" type="datetime'''''''''''''''''''''''''''''''''''''20''''''2''''3'''''''">
              <a:rPr lang="en-GB" altLang="en-US" sz="1200" smtClean="0">
                <a:solidFill>
                  <a:srgbClr val="000000"/>
                </a:solidFill>
              </a:rPr>
              <a:pPr/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724219F-3816-BCFC-5FEE-EE5014CB6A14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81558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41076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86283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86283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36094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86283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9149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86283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9149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86283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9149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330199" y="5037138"/>
            <a:ext cx="1271588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1124BBA5-4943-4FB2-A45E-C8ABEF09EAD2}" type="datetime'Al''ig''''''''n''m''''ent'''' l''''e''''''''v''''e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57104068-ACBE-AD33-84F9-2F7344C604BC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601788" y="5037138"/>
            <a:ext cx="20510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43BC38F-208F-41C3-89AC-9C6E736D5E49}" type="datetime'1''''4'''''''''''''''''''''''' ''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790B62F4-6586-68A1-91FB-B332BAFFF09B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3652838" y="5037138"/>
            <a:ext cx="20510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893C6F-EDCD-4D41-A39F-CCD72825571A}" type="datetime'''2''''''''''''''''6'' 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21101E8D-D527-DA00-77CE-8F01192C95CB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5703888" y="5037138"/>
            <a:ext cx="20510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9FB3654-DF48-45FB-83E6-E4BB1515B4C5}" type="datetime'''''''''''''''''''''''''''3''''''''''0'''''''' 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A74A7FE4-5BF7-FDAA-0BA5-5F7410862DBB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754938" y="5037138"/>
            <a:ext cx="20510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4003FAE-E96C-4953-8E50-4B89F92F4BA8}" type="datetime'''''''''''4''3'''' ''''''''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AAD7EB4A-5996-8F44-A07C-157BE1861A13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9805988" y="5037138"/>
            <a:ext cx="2051050" cy="24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ADAB39E-B25A-476D-A613-6C3E9A946FED}" type="datetime'5''''2'''''''''' ''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741F7BA0-340B-397D-6291-744440EEB8E8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330199" y="5280025"/>
            <a:ext cx="12715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07A40B19-F8F4-456D-9F5C-FE9B361CBE07}" type="datetime'#'''' ''''''''''''''o''f ''P''o''''rt''Cos'''''">
              <a:rPr lang="en-GB" altLang="en-US" sz="1200" smtClean="0">
                <a:solidFill>
                  <a:srgbClr val="000000"/>
                </a:solidFill>
              </a:rPr>
              <a:pPr/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A13886C4-898D-9893-BA9D-779F23BE87A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601788" y="5280025"/>
            <a:ext cx="20510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99F600-6271-45D5-A045-347493D507CA}" type="datetime'''2''''''''''''''''''''''''''''''''''''''''0'''''">
              <a:rPr lang="en-GB" altLang="en-US" sz="1200" smtClean="0">
                <a:solidFill>
                  <a:srgbClr val="000000"/>
                </a:solidFill>
              </a:rPr>
              <a:pPr/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51F78938-E4C4-FB11-58F7-4753C27CE040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3652838" y="5280025"/>
            <a:ext cx="20510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985114A-C2B4-45C3-BF86-C87732B2EDF0}" type="datetime'''''2''''''''''''''''''''''''''''''''''''''2''''''''''''''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0D53BC90-F88C-9D93-C72F-457A6E7FBE6D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5703888" y="5280025"/>
            <a:ext cx="20510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EDF33F0-9249-41AB-A51C-51AFD5EAFA31}" type="datetime'''''''2''''''''''''''''''''1'''''''''''''''''''">
              <a:rPr lang="en-GB" altLang="en-US" sz="1200" smtClean="0">
                <a:solidFill>
                  <a:srgbClr val="000000"/>
                </a:solidFill>
              </a:rPr>
              <a:pPr/>
              <a:t>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18CED760-AF58-2D0B-F0BD-C4BF67BB2974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754938" y="5280025"/>
            <a:ext cx="20510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9DA3134-ECF3-443A-9D40-BE21FD14DDE3}" type="datetime'''''''''''''''''''''2''''2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78449EED-037A-D62C-36F3-7659D3BE53C4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9805988" y="5280025"/>
            <a:ext cx="20510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1750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B3131A1-6396-49EE-BB3E-EF82C9FF8AFA}" type="datetime'''''''''''''''''''''''''''''''''''''''''''''''''''2''2'''''">
              <a:rPr lang="en-GB" altLang="en-US" sz="1200" smtClean="0">
                <a:solidFill>
                  <a:srgbClr val="000000"/>
                </a:solidFill>
              </a:rPr>
              <a:pPr/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86283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9149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86283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9149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grpSp>
        <p:nvGrpSpPr>
          <p:cNvPr id="4" name="btfpRunningAgenda1Level573689">
            <a:extLst>
              <a:ext uri="{FF2B5EF4-FFF2-40B4-BE49-F238E27FC236}">
                <a16:creationId xmlns:a16="http://schemas.microsoft.com/office/drawing/2014/main" id="{CC08EC66-357B-39E5-B549-1C2DBF15A85D}"/>
              </a:ext>
            </a:extLst>
          </p:cNvPr>
          <p:cNvGrpSpPr/>
          <p:nvPr>
            <p:custDataLst>
              <p:tags r:id="rId69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5" name="btfpRunningAgenda1LevelBarLeft573689">
              <a:extLst>
                <a:ext uri="{FF2B5EF4-FFF2-40B4-BE49-F238E27FC236}">
                  <a16:creationId xmlns:a16="http://schemas.microsoft.com/office/drawing/2014/main" id="{BD7CC36B-18A4-0B40-1574-3369C41092A3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7" name="btfpRunningAgenda1LevelTextLeft573689">
              <a:extLst>
                <a:ext uri="{FF2B5EF4-FFF2-40B4-BE49-F238E27FC236}">
                  <a16:creationId xmlns:a16="http://schemas.microsoft.com/office/drawing/2014/main" id="{8F206A19-0BC6-6F70-A66C-8520A5067C1E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15" name="btfpBulletedList888153">
            <a:extLst>
              <a:ext uri="{FF2B5EF4-FFF2-40B4-BE49-F238E27FC236}">
                <a16:creationId xmlns:a16="http://schemas.microsoft.com/office/drawing/2014/main" id="{2E1B6C9B-077E-6B89-616E-252CE649701D}"/>
              </a:ext>
            </a:extLst>
          </p:cNvPr>
          <p:cNvSpPr/>
          <p:nvPr/>
        </p:nvSpPr>
        <p:spPr bwMode="gray">
          <a:xfrm>
            <a:off x="8954100" y="1"/>
            <a:ext cx="3237900" cy="147002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and currency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 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1B1932B4-3F27-8BA5-A51A-65F0D40D5AB1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2</a:t>
            </a: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07D26223-FB3E-9A98-8593-565C3AC291D8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330199" y="5524500"/>
            <a:ext cx="1271588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C633097C-D251-4C59-8A48-DBC9790DB2E7}" type="datetime'''F''inan''''c''e''''''''''d emi''s''sions'' ''(''tCO''2e)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7" name="Text Placeholder">
            <a:extLst>
              <a:ext uri="{FF2B5EF4-FFF2-40B4-BE49-F238E27FC236}">
                <a16:creationId xmlns:a16="http://schemas.microsoft.com/office/drawing/2014/main" id="{9C1C818D-564F-976A-63C8-13B838CADBDA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1601788" y="5524500"/>
            <a:ext cx="2051050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22238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99620C2-F973-4100-9ED8-8B4D3A8443A5}" type="datetime'15'''''''',''''''''''9''''''''''''''40'''''''''">
              <a:rPr lang="en-GB" altLang="en-US" sz="1200" smtClean="0">
                <a:solidFill>
                  <a:srgbClr val="000000"/>
                </a:solidFill>
              </a:rPr>
              <a:pPr/>
              <a:t>15,9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770FE6FF-ACA8-2093-46D5-2922D28A7A12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3652838" y="5524500"/>
            <a:ext cx="2051050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22238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111941B-E848-47A6-B0B5-D46DC2D63874}" type="datetime'''''''''''1''8'''''''''''',''2''0''''''''''0'''''''''''''">
              <a:rPr lang="en-GB" altLang="en-US" sz="1200" smtClean="0">
                <a:solidFill>
                  <a:srgbClr val="000000"/>
                </a:solidFill>
              </a:rPr>
              <a:pPr/>
              <a:t>18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052AA58D-43B3-ED7E-5985-43627C35403A}"/>
              </a:ext>
            </a:extLst>
          </p:cNvPr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5703888" y="5524500"/>
            <a:ext cx="2051050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22238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BE1FA4B-8346-48BC-BD47-C40FC2986BD4}" type="datetime'''''''''''''''''17'''''''''''''''''',''''''''''''7''0''0'''''">
              <a:rPr lang="en-GB" altLang="en-US" sz="1200" smtClean="0">
                <a:solidFill>
                  <a:srgbClr val="000000"/>
                </a:solidFill>
              </a:rPr>
              <a:pPr/>
              <a:t>17,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3" name="Text Placeholder">
            <a:extLst>
              <a:ext uri="{FF2B5EF4-FFF2-40B4-BE49-F238E27FC236}">
                <a16:creationId xmlns:a16="http://schemas.microsoft.com/office/drawing/2014/main" id="{A64C7112-65D1-8113-F9B0-21751BABC410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7754938" y="5524500"/>
            <a:ext cx="2051050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22238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B42C23E-0850-4D2F-85D7-10DFA9DCB862}" type="datetime'1''''''7'''',''8''''''''0''''0'''''''''''''''''''''''">
              <a:rPr lang="en-GB" altLang="en-US" sz="1200" smtClean="0">
                <a:solidFill>
                  <a:srgbClr val="000000"/>
                </a:solidFill>
              </a:rPr>
              <a:pPr/>
              <a:t>17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8" name="Text Placeholder">
            <a:extLst>
              <a:ext uri="{FF2B5EF4-FFF2-40B4-BE49-F238E27FC236}">
                <a16:creationId xmlns:a16="http://schemas.microsoft.com/office/drawing/2014/main" id="{34CFA94E-53DF-B5D2-3279-D5BC9C78763A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9805988" y="5524500"/>
            <a:ext cx="2051050" cy="3952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122238" rIns="0" bIns="904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AA53680-144A-4994-B2F8-223F5BAF3EBE}" type="datetime'''''''14'''''''''''',80''''''''''''''''''''''''''0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3A1AD062-41DE-E6B8-7BBB-6013B198CA62}"/>
              </a:ext>
            </a:extLst>
          </p:cNvPr>
          <p:cNvSpPr txBox="1"/>
          <p:nvPr>
            <p:custDataLst>
              <p:tags r:id="rId76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invested capital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invested capital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405953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84697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484" imgH="486" progId="TCLayout.ActiveDocument.1">
                  <p:embed/>
                </p:oleObj>
              </mc:Choice>
              <mc:Fallback>
                <p:oleObj name="think-cell Slide" r:id="rId38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PortCos</a:t>
            </a:r>
          </a:p>
        </p:txBody>
      </p:sp>
      <p:sp>
        <p:nvSpPr>
          <p:cNvPr id="9" name="btfpNotesBox623158">
            <a:extLst>
              <a:ext uri="{FF2B5EF4-FFF2-40B4-BE49-F238E27FC236}">
                <a16:creationId xmlns:a16="http://schemas.microsoft.com/office/drawing/2014/main" id="{0CF8AA74-933C-78CE-1B03-6B2EACCFC052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330199" y="6442789"/>
            <a:ext cx="11531600" cy="12311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PortCos categorised as ‘Aligning’ or ‘Aligned’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CD30933-1217-0533-0975-E8D01BEA5D3B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639708612"/>
              </p:ext>
            </p:extLst>
          </p:nvPr>
        </p:nvGraphicFramePr>
        <p:xfrm>
          <a:off x="1889125" y="1535113"/>
          <a:ext cx="10050463" cy="3937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1608137" y="511492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B31CD643-CA42-4C29-BD55-559D734F91CC}" type="datetime'''''''''''0'''''''''''''''''''''''''''''''' ''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CBD45089-943A-36B8-BCB6-165FC7BF892C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1524000" y="44338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227F4E2-909C-4001-A21C-30C7527D12A4}" type="datetime'''''''''''''''''''''2''''''''0'''' ''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9" name="Text Placeholder">
            <a:extLst>
              <a:ext uri="{FF2B5EF4-FFF2-40B4-BE49-F238E27FC236}">
                <a16:creationId xmlns:a16="http://schemas.microsoft.com/office/drawing/2014/main" id="{C131D7ED-D007-8E45-C4C0-11441E9AB908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1524000" y="375285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C0AE50BC-B082-4170-9568-2DAD837C479D}" type="datetime'''4''''''''''''''''''''''''''''0'' ''''''''''''''''''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" name="Text Placeholder">
            <a:extLst>
              <a:ext uri="{FF2B5EF4-FFF2-40B4-BE49-F238E27FC236}">
                <a16:creationId xmlns:a16="http://schemas.microsoft.com/office/drawing/2014/main" id="{A65F5AF5-9616-17EA-6EB0-74A1ABF4802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524000" y="30734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4C706C6-B4CD-4072-81D2-8128F4A90C87}" type="datetime'6''''''''''''''0'''''' 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" name="Text Placeholder">
            <a:extLst>
              <a:ext uri="{FF2B5EF4-FFF2-40B4-BE49-F238E27FC236}">
                <a16:creationId xmlns:a16="http://schemas.microsoft.com/office/drawing/2014/main" id="{0C6DF59D-E1D0-5142-24BC-1B32934484E7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1524000" y="2392363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32E89149-2926-46E5-8799-109603755D62}" type="datetime'''8''''''''0'''''''''''' ''''''''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1439863" y="1711325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C0C65007-F554-4B7A-BA5F-428F55F438AC}" type="datetime'''''''''''''''''1''''''00''''''''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21DA7ED7-EB91-36FB-C60E-A4DAC72E8A4A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9364663" y="49736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EE706DB7-32DD-08AB-3E17-13DF12D112C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gray">
          <a:xfrm flipH="1">
            <a:off x="11341100" y="49736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1439863" y="1406525"/>
            <a:ext cx="48148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PortCos, 2019-2023 (% of PortCos)</a:t>
            </a: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9152E394-3252-79DE-E045-7651C7E99B34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2763838" y="40925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892AA61-4FB7-4DDE-BFE4-169F1EDB1F12}" type="datetime'''''''''''''2''''''''0'' ''''''''''%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AB1C5CED-B60A-63B3-F305-B828CEB50AD9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2763838" y="29876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232B3D-8107-43F6-8435-C9A1EFE7EE82}" type="datetime'''''''1''''''''''''''5'''' ''''''%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92AE982F-DAFB-E84F-E883-34EE9BBA2F1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740275" y="43418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83FDA9F-8DEE-4B68-BB23-474B1AB044EB}" type="datetime'''''''''''''''''1''''''''''''''''''''''''''''8'''''''''' 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5" name="Text Placeholder">
            <a:extLst>
              <a:ext uri="{FF2B5EF4-FFF2-40B4-BE49-F238E27FC236}">
                <a16:creationId xmlns:a16="http://schemas.microsoft.com/office/drawing/2014/main" id="{43D5D1A6-C004-3D56-0CE5-DFF8E2AB206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783137" y="3257550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96FAC03-8A8A-40DB-A617-ED3BDFCBFD1B}" type="datetime'''''''''''''''9'''''''''''''''''' ''''''''''''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55CA1171-D715-0F89-4EF2-5D6598A68E2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6718300" y="46291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5E8BE7D-7AFB-41BF-BEED-390D797B38FC}" type="datetime'''''''''''''''1''''''''''''''''0'''''''''''''''''' 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357072C9-2167-48A5-ABC0-E8B698013FC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6718300" y="37369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85AB2B-F41F-4713-8068-F3822C13A54F}" type="datetime'''''''''''1''''''''''4'''''' ''''''''''%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A0C69CA-B55A-8E9A-2D06-9CDFA8E6ABAF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694738" y="42640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DF51108-0F2F-493A-98E8-BC3EDF66CB8F}" type="datetime'''''1''''''''''''''''''''''''''''''''''4'''''' 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A786F3B5-1A81-59F3-DF24-1CA7A01E7B4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10715624" y="434022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608BC8-4E7B-4665-AD4B-9820A6024A29}" type="datetime'''''''''''9'''''''''''''' 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1971674" y="5297488"/>
            <a:ext cx="1976438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6667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0CA208F-3735-4DB3-8208-0A15DC41EDB5}" type="datetime'''''''''2''''''''''''''''''0''''''''1''9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5924550" y="5297488"/>
            <a:ext cx="1978025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6667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588329E-5A01-42AA-925C-5C1BC2F43632}" type="datetime'''''''''''''''''''''''''2''''''''''''''''''02''''''''''1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7902574" y="5297488"/>
            <a:ext cx="1976438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6667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30884D1-375A-47E6-B703-5DED8682E1B4}" type="datetime'''''''''''''2''''''''''''''''''0''''''''''''''''22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3948112" y="5297488"/>
            <a:ext cx="1976438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6667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98D3C37-20B0-4214-9E54-07794F5DCD72}" type="datetime'''20''''''''''''2''''0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9879013" y="5297488"/>
            <a:ext cx="1978025" cy="309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66675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407254-F5DA-46A0-91DA-F19FCFEDD7D5}" type="datetime'''''''''''''''''''2''''''''0''''''''''''2''''''''3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28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724219F-3816-BCFC-5FEE-EE5014CB6A14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6004805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64323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109530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109530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59341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109530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82396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109530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82396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109530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82396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330200" y="5607049"/>
            <a:ext cx="164147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57104068-ACBE-AD33-84F9-2F7344C604BC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1971674" y="5607049"/>
            <a:ext cx="1976438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E8A2A7C-F646-4C73-B566-07E5BBE966C0}" type="datetime'''1''5'''''''''''' ''''''''''''''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790B62F4-6586-68A1-91FB-B332BAFFF09B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3948112" y="5607049"/>
            <a:ext cx="1976438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CAA833-679E-4F2D-9CEF-02D669375D58}" type="datetime'''''2''''''''''''7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21101E8D-D527-DA00-77CE-8F01192C95CB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5924550" y="5607049"/>
            <a:ext cx="19780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DF35E5-48C1-42D3-B174-DED3628DC6AA}" type="datetime'''''''''''''''''''''3''''3''''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A74A7FE4-5BF7-FDAA-0BA5-5F7410862DBB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7902574" y="5607049"/>
            <a:ext cx="1976438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7F9B8BD-0E6E-4DE5-9608-E8936B997E06}" type="datetime'''5''''''''''''''''''''0'''''''''''''''''' ''''''''''''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AAD7EB4A-5996-8F44-A07C-157BE1861A13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9879013" y="5607049"/>
            <a:ext cx="1978025" cy="312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5088" rIns="0" bIns="650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E2856A1-509B-4314-929E-A64EDAEBD9A9}" type="datetime'''''''''''''''5''9'''''' ''%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109530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82396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109530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82396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27" name="btfpBulletedList258291">
            <a:extLst>
              <a:ext uri="{FF2B5EF4-FFF2-40B4-BE49-F238E27FC236}">
                <a16:creationId xmlns:a16="http://schemas.microsoft.com/office/drawing/2014/main" id="{C63C4F95-DC13-77E4-6015-89007DBE71FC}"/>
              </a:ext>
            </a:extLst>
          </p:cNvPr>
          <p:cNvSpPr/>
          <p:nvPr/>
        </p:nvSpPr>
        <p:spPr bwMode="gray">
          <a:xfrm>
            <a:off x="8954100" y="0"/>
            <a:ext cx="3237900" cy="11822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70" name="btfpRunningAgenda1Level573689">
            <a:extLst>
              <a:ext uri="{FF2B5EF4-FFF2-40B4-BE49-F238E27FC236}">
                <a16:creationId xmlns:a16="http://schemas.microsoft.com/office/drawing/2014/main" id="{77AC72C7-DFF5-F5C6-A234-DF08B61A0206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71" name="btfpRunningAgenda1LevelBarLeft573689">
              <a:extLst>
                <a:ext uri="{FF2B5EF4-FFF2-40B4-BE49-F238E27FC236}">
                  <a16:creationId xmlns:a16="http://schemas.microsoft.com/office/drawing/2014/main" id="{B4D90899-C58A-BF06-841C-E3A9CBE536C1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72" name="btfpRunningAgenda1LevelTextLeft573689">
              <a:extLst>
                <a:ext uri="{FF2B5EF4-FFF2-40B4-BE49-F238E27FC236}">
                  <a16:creationId xmlns:a16="http://schemas.microsoft.com/office/drawing/2014/main" id="{B31D9409-6C67-8566-4F92-D4B081E3A77A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78" name="Oval 77">
            <a:extLst>
              <a:ext uri="{FF2B5EF4-FFF2-40B4-BE49-F238E27FC236}">
                <a16:creationId xmlns:a16="http://schemas.microsoft.com/office/drawing/2014/main" id="{EABA6FF7-0379-D93C-C564-3E41B5756B9B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3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3556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6250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8" imgW="484" imgH="486" progId="TCLayout.ActiveDocument.1">
                  <p:embed/>
                </p:oleObj>
              </mc:Choice>
              <mc:Fallback>
                <p:oleObj name="think-cell Slide" r:id="rId58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development by PortCos</a:t>
            </a:r>
          </a:p>
        </p:txBody>
      </p:sp>
      <p:graphicFrame>
        <p:nvGraphicFramePr>
          <p:cNvPr id="68" name="Chart 67">
            <a:extLst>
              <a:ext uri="{FF2B5EF4-FFF2-40B4-BE49-F238E27FC236}">
                <a16:creationId xmlns:a16="http://schemas.microsoft.com/office/drawing/2014/main" id="{46F5CA53-9E9C-A2A9-1ABE-56C1C6059F55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456344838"/>
              </p:ext>
            </p:extLst>
          </p:nvPr>
        </p:nvGraphicFramePr>
        <p:xfrm>
          <a:off x="2203450" y="1519238"/>
          <a:ext cx="973613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100263" y="439737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6CF0994-D041-4BC9-8046-8E459E3469CF}" type="datetime'0''''''''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1" name="Text Placeholder">
            <a:extLst>
              <a:ext uri="{FF2B5EF4-FFF2-40B4-BE49-F238E27FC236}">
                <a16:creationId xmlns:a16="http://schemas.microsoft.com/office/drawing/2014/main" id="{68B1AA5B-6F71-73CB-B7B5-948C4AD342A4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100263" y="3857625"/>
            <a:ext cx="841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24FB7E07-E83C-46D1-924B-1C5E52A92BF2}" type="datetime'''''''''''''''''''''''''''''''''''''''''''''''''''5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3" name="Text Placeholder">
            <a:extLst>
              <a:ext uri="{FF2B5EF4-FFF2-40B4-BE49-F238E27FC236}">
                <a16:creationId xmlns:a16="http://schemas.microsoft.com/office/drawing/2014/main" id="{9F67CD4E-71DA-45E1-E5C3-EECCFD55F57E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016125" y="331628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36FECE2-E24E-47AF-AD78-83ECE153B4E3}" type="datetime'''1''''''0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4" name="Text Placeholder">
            <a:extLst>
              <a:ext uri="{FF2B5EF4-FFF2-40B4-BE49-F238E27FC236}">
                <a16:creationId xmlns:a16="http://schemas.microsoft.com/office/drawing/2014/main" id="{C44512A8-F30E-CC3F-7263-F8CF1E836FB6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016125" y="2776538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68A3D872-E7F9-4A71-A94F-E28A0A1026EC}" type="datetime'''''''''''''''''1''5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5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7" name="Text Placeholder">
            <a:extLst>
              <a:ext uri="{FF2B5EF4-FFF2-40B4-BE49-F238E27FC236}">
                <a16:creationId xmlns:a16="http://schemas.microsoft.com/office/drawing/2014/main" id="{A82871E7-F07E-82A8-080D-3E0214A46B2F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016125" y="223520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FBC5C571-889E-47F2-B279-60CEE9DBC11C}" type="datetime'''''''''2''''''''''''''''''''''''''''''''0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8" name="Text Placeholder">
            <a:extLst>
              <a:ext uri="{FF2B5EF4-FFF2-40B4-BE49-F238E27FC236}">
                <a16:creationId xmlns:a16="http://schemas.microsoft.com/office/drawing/2014/main" id="{4CA3D663-5E2D-49ED-832E-3D3B9FFDD631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2016125" y="16954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00912E6-AC24-45A5-8C63-C7B0A4701FC7}" type="datetime'''''''''''''''''''''2''''5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5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21DA7ED7-EB91-36FB-C60E-A4DAC72E8A4A}"/>
              </a:ext>
            </a:extLst>
          </p:cNvPr>
          <p:cNvCxnSpPr/>
          <p:nvPr>
            <p:custDataLst>
              <p:tags r:id="rId11"/>
            </p:custDataLst>
          </p:nvPr>
        </p:nvCxnSpPr>
        <p:spPr bwMode="gray">
          <a:xfrm flipH="1">
            <a:off x="9440863" y="43259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3" name="Straight Connector 162">
            <a:extLst>
              <a:ext uri="{FF2B5EF4-FFF2-40B4-BE49-F238E27FC236}">
                <a16:creationId xmlns:a16="http://schemas.microsoft.com/office/drawing/2014/main" id="{EE706DB7-32DD-08AB-3E17-13DF12D112CB}"/>
              </a:ext>
            </a:extLst>
          </p:cNvPr>
          <p:cNvCxnSpPr/>
          <p:nvPr>
            <p:custDataLst>
              <p:tags r:id="rId12"/>
            </p:custDataLst>
          </p:nvPr>
        </p:nvCxnSpPr>
        <p:spPr bwMode="gray">
          <a:xfrm flipH="1">
            <a:off x="11355388" y="4325938"/>
            <a:ext cx="95250" cy="0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2016125" y="1390650"/>
            <a:ext cx="4764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development by PortCos, 2019-2023 (# of PortCos)</a:t>
            </a:r>
          </a:p>
        </p:txBody>
      </p:sp>
      <p:sp>
        <p:nvSpPr>
          <p:cNvPr id="203" name="Text Placeholder">
            <a:extLst>
              <a:ext uri="{FF2B5EF4-FFF2-40B4-BE49-F238E27FC236}">
                <a16:creationId xmlns:a16="http://schemas.microsoft.com/office/drawing/2014/main" id="{9152E394-3252-79DE-E045-7651C7E99B34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179763" y="3749675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F20F08-D950-49C3-A672-5ADB1788E90B}" type="datetime'''''''''''''''''''''''''''''''''''''''''''''4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05" name="Text Placeholder">
            <a:extLst>
              <a:ext uri="{FF2B5EF4-FFF2-40B4-BE49-F238E27FC236}">
                <a16:creationId xmlns:a16="http://schemas.microsoft.com/office/drawing/2014/main" id="{AB1C5CED-B60A-63B3-F305-B828CEB50AD9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179763" y="3046413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F014D6E-C92E-40DA-90BA-3694C3709E69}" type="datetime'''''''3''''''''''''''''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5" name="Text Placeholder">
            <a:extLst>
              <a:ext uri="{FF2B5EF4-FFF2-40B4-BE49-F238E27FC236}">
                <a16:creationId xmlns:a16="http://schemas.microsoft.com/office/drawing/2014/main" id="{E1FC35E7-4B10-316D-2981-E65550C476EC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179763" y="2289175"/>
            <a:ext cx="128588" cy="182563"/>
          </a:xfrm>
          <a:prstGeom prst="rect">
            <a:avLst/>
          </a:prstGeom>
          <a:solidFill>
            <a:srgbClr val="045E64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14B5FFE-BE0C-41DC-8799-C65FA500A051}" type="datetime'''''''''''''''''''''''''''1'''''''''''''''''''''">
              <a:rPr lang="en-GB" altLang="en-US" sz="1200" smtClean="0">
                <a:solidFill>
                  <a:srgbClr val="FFFFFF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200" dirty="0">
              <a:solidFill>
                <a:srgbClr val="FFFFFF"/>
              </a:solidFill>
            </a:endParaRPr>
          </a:p>
        </p:txBody>
      </p:sp>
      <p:sp>
        <p:nvSpPr>
          <p:cNvPr id="207" name="Text Placeholder">
            <a:extLst>
              <a:ext uri="{FF2B5EF4-FFF2-40B4-BE49-F238E27FC236}">
                <a16:creationId xmlns:a16="http://schemas.microsoft.com/office/drawing/2014/main" id="{92AE982F-DAFB-E84F-E883-34EE9BBA2F16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5094288" y="3857625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1FBC9C3-13C4-4FE4-8408-A0E5967E8C9F}" type="datetime'''''4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5" name="Text Placeholder">
            <a:extLst>
              <a:ext uri="{FF2B5EF4-FFF2-40B4-BE49-F238E27FC236}">
                <a16:creationId xmlns:a16="http://schemas.microsoft.com/office/drawing/2014/main" id="{43D5D1A6-C004-3D56-0CE5-DFF8E2AB2060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5094288" y="3100388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C643949-60E1-4982-9962-06B104B8FE4A}" type="datetime'''''''''''''''''''''''''''''''''''''''2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10" name="Text Placeholder">
            <a:extLst>
              <a:ext uri="{FF2B5EF4-FFF2-40B4-BE49-F238E27FC236}">
                <a16:creationId xmlns:a16="http://schemas.microsoft.com/office/drawing/2014/main" id="{55CA1171-D715-0F89-4EF2-5D6598A68E22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7007225" y="4073525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F04AA13-8006-417C-9B15-1F3F052AEE26}" type="datetime'''''''''''''''''''2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357072C9-2167-48A5-ABC0-E8B698013FC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7007225" y="3478213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7B8EFB0-EA3F-4F53-B8A4-698C4B5A6CBC}" type="datetime'''''''''''''''''''3''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D1FF2191-9FBC-5AB2-2ECD-51D0C4B007CA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8921750" y="4343400"/>
            <a:ext cx="1285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E55F48-1590-4C8D-93D9-6C2E990695FE}" type="datetime'''''''''''''''''''1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A0C69CA-B55A-8E9A-2D06-9CDFA8E6ABAF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8921750" y="3803650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1808D8-8102-4B6E-8DC5-0B27D0D64BC1}" type="datetime'''''''''''''''''''''''''''''''''''''''3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7" name="Text Placeholder">
            <a:extLst>
              <a:ext uri="{FF2B5EF4-FFF2-40B4-BE49-F238E27FC236}">
                <a16:creationId xmlns:a16="http://schemas.microsoft.com/office/drawing/2014/main" id="{5A0A2F40-558E-1ED4-3791-339D621037E9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10836275" y="4343400"/>
            <a:ext cx="128588" cy="182563"/>
          </a:xfrm>
          <a:prstGeom prst="rect">
            <a:avLst/>
          </a:prstGeom>
          <a:solidFill>
            <a:srgbClr val="F0F0F0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1EFD3E1-C565-4BCA-91AC-2E0E2BDA3A6A}" type="datetime'''''''''''''''''''''''''''''1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A786F3B5-1A81-59F3-DF24-1CA7A01E7B4F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10836275" y="3857625"/>
            <a:ext cx="1285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B82A213-3233-4AD2-8AF0-9EF069DE5983}" type="datetime'''''''''''''''''''''''''''''''''''''2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14A73274-BB8F-EFF5-7693-A9B57847F244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3136900" y="2106613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4AC985F-CA2B-47F4-8DD0-DBE5C948EAAA}" type="datetime'''2''''''''''''''''0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4CEFDEF5-6680-A73A-AFD8-92E812E1698D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5051425" y="19018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232AE67-891D-4586-9012-A9E8DCA8339B}" type="datetime'''''''''2''''''''''''''2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2D86FAE9-D129-0E38-91AD-A2007D25C775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6964363" y="200977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148CBBD-961F-4C34-B67D-F03955371BD6}" type="datetime'''''''''''''''''2''''''''''''''''''1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B4D4F4A3-903C-A138-B46A-266E502995BA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8878888" y="19018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BAA0A5B-82EB-4E4A-8C4B-66C80FEE16AD}" type="datetime'''''''''''''''2''''''''''''''''''2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B6FBF137-9F3F-A588-1B04-D1A3DF24C0F6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10793413" y="1901825"/>
            <a:ext cx="21272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22225" tIns="0" rIns="22225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543863-0C8E-45B6-A849-6E13B7751046}" type="datetime'''2''''''''2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2286000" y="4579938"/>
            <a:ext cx="1912938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1913" rIns="0" bIns="77788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07ADB89-2F8F-448B-B628-953BF855E95F}" type="datetime'''''''''''''''''''20''''''''''''''1''''''''''9'''''">
              <a:rPr lang="en-GB" altLang="en-US" sz="1200" smtClean="0">
                <a:solidFill>
                  <a:srgbClr val="000000"/>
                </a:solidFill>
              </a:rPr>
              <a:pPr/>
              <a:t>2019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6115050" y="4579938"/>
            <a:ext cx="1912938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1913" rIns="0" bIns="77788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E99FA04-3074-416D-9283-15F6F567BCDE}" type="datetime'''2''0''''''''''''''2''''1'''''''''''''''''''">
              <a:rPr lang="en-GB" altLang="en-US" sz="1200" smtClean="0">
                <a:solidFill>
                  <a:srgbClr val="000000"/>
                </a:solidFill>
              </a:rPr>
              <a:pPr/>
              <a:t>2021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8027988" y="4579938"/>
            <a:ext cx="1916113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77788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7B253F1-EB7F-45EE-B2D4-969F51D8142C}" type="datetime'''''''''''''''''20''''''''2''''''''''''2'''''''''''">
              <a:rPr lang="en-GB" altLang="en-US" sz="1200" smtClean="0">
                <a:solidFill>
                  <a:srgbClr val="000000"/>
                </a:solidFill>
              </a:rPr>
              <a:pPr/>
              <a:t>202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4198938" y="4579938"/>
            <a:ext cx="1916113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1913" rIns="0" bIns="77788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253A6CF-5E7D-4EE3-A0DA-14A9120F51C2}" type="datetime'''2''''''''''''''''0''''''''''''''''''''''''''2''0'">
              <a:rPr lang="en-GB" altLang="en-US" sz="1200" smtClean="0">
                <a:solidFill>
                  <a:srgbClr val="000000"/>
                </a:solidFill>
              </a:rPr>
              <a:pPr/>
              <a:t>202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9944100" y="4579938"/>
            <a:ext cx="1912938" cy="322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1913" rIns="0" bIns="77788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4B5EFD7-C5FC-4895-BB44-14F01783A983}" type="datetime'2''0''''''''''''''''''''2''''3'''''">
              <a:rPr lang="en-GB" altLang="en-US" sz="1200" smtClean="0">
                <a:solidFill>
                  <a:srgbClr val="000000"/>
                </a:solidFill>
              </a:rPr>
              <a:pPr/>
              <a:t>2023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5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7724219F-3816-BCFC-5FEE-EE5014CB6A14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330200" y="4902200"/>
            <a:ext cx="19558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20CD07C7-BD4A-4668-93A1-ED78F17C9A70}" type="datetime'''''Al''i''''''gn''''''''men''''''''''t'''''''' ''lev''el'">
              <a:rPr lang="en-GB" altLang="en-US" sz="1200" smtClean="0">
                <a:solidFill>
                  <a:srgbClr val="000000"/>
                </a:solidFill>
              </a:rPr>
              <a:pPr/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57104068-ACBE-AD33-84F9-2F7344C604BC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286000" y="4902200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00FB2F-D870-48B9-997B-C0CC63BA16B7}" type="datetime'''''''15'''''''''''''''''''''''''''''''' ''''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790B62F4-6586-68A1-91FB-B332BAFFF09B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4198938" y="4902200"/>
            <a:ext cx="19161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2879E5C-C8CF-41FF-A0CC-3D2E1465D715}" type="datetime'''''''''2''''''''''''7 ''''''''''''''''''''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8" name="Text Placeholder">
            <a:extLst>
              <a:ext uri="{FF2B5EF4-FFF2-40B4-BE49-F238E27FC236}">
                <a16:creationId xmlns:a16="http://schemas.microsoft.com/office/drawing/2014/main" id="{21101E8D-D527-DA00-77CE-8F01192C95CB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6115050" y="4902200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19023FB-96EF-4BA5-905F-79FCF50A539B}" type="datetime'''''''3''''''''''''''''3'' ''''%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3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9" name="Text Placeholder">
            <a:extLst>
              <a:ext uri="{FF2B5EF4-FFF2-40B4-BE49-F238E27FC236}">
                <a16:creationId xmlns:a16="http://schemas.microsoft.com/office/drawing/2014/main" id="{A74A7FE4-5BF7-FDAA-0BA5-5F7410862DBB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8027988" y="4902200"/>
            <a:ext cx="19161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40A8FAF-BC35-4203-956E-395423B957E4}" type="datetime'''''''''''''''''''5''''''''''''''''0'''' 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90" name="Text Placeholder">
            <a:extLst>
              <a:ext uri="{FF2B5EF4-FFF2-40B4-BE49-F238E27FC236}">
                <a16:creationId xmlns:a16="http://schemas.microsoft.com/office/drawing/2014/main" id="{AAD7EB4A-5996-8F44-A07C-157BE1861A13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9944100" y="4902200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93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B0B08C-19F5-48CE-8BB7-7A0962DA077A}" type="datetime'5''''''9 ''''''''''''''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2" name="Text Placeholder">
            <a:extLst>
              <a:ext uri="{FF2B5EF4-FFF2-40B4-BE49-F238E27FC236}">
                <a16:creationId xmlns:a16="http://schemas.microsoft.com/office/drawing/2014/main" id="{741F7BA0-340B-397D-6291-744440EEB8E8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330200" y="5241925"/>
            <a:ext cx="1955800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58B02364-48A9-4CB3-A28E-16401FB7AD03}" type="datetime'''''''''''In''vest''''''''''ed c''''a''pit''''a''l ''($b'''')'">
              <a:rPr lang="en-GB" altLang="en-US" sz="1200" smtClean="0">
                <a:solidFill>
                  <a:srgbClr val="000000"/>
                </a:solidFill>
              </a:rPr>
              <a:pPr/>
              <a:t>Invested capital ($b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5" name="Text Placeholder">
            <a:extLst>
              <a:ext uri="{FF2B5EF4-FFF2-40B4-BE49-F238E27FC236}">
                <a16:creationId xmlns:a16="http://schemas.microsoft.com/office/drawing/2014/main" id="{A13886C4-898D-9893-BA9D-779F23BE87A4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286000" y="5241925"/>
            <a:ext cx="1912938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8248614-622D-4F68-9168-CD911FA66AE5}" type="datetime'''''''''''''''9''.''''''''''''''''0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6" name="Text Placeholder">
            <a:extLst>
              <a:ext uri="{FF2B5EF4-FFF2-40B4-BE49-F238E27FC236}">
                <a16:creationId xmlns:a16="http://schemas.microsoft.com/office/drawing/2014/main" id="{51F78938-E4C4-FB11-58F7-4753C27CE040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4198938" y="5241925"/>
            <a:ext cx="1916113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818155E-12B9-473E-960C-C984A430168D}" type="datetime'''''''''''1''''0''''.''''''''''0'''''''''''''''''''">
              <a:rPr lang="en-GB" altLang="en-US" sz="1200" smtClean="0">
                <a:solidFill>
                  <a:srgbClr val="000000"/>
                </a:solidFill>
              </a:rPr>
              <a:pPr/>
              <a:t>10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2" name="Text Placeholder">
            <a:extLst>
              <a:ext uri="{FF2B5EF4-FFF2-40B4-BE49-F238E27FC236}">
                <a16:creationId xmlns:a16="http://schemas.microsoft.com/office/drawing/2014/main" id="{0D53BC90-F88C-9D93-C72F-457A6E7FBE6D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6115050" y="5241925"/>
            <a:ext cx="1912938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A16C1ED-C471-4DCB-9B5C-4A08F3BF6836}" type="datetime'9''''''''.''''''''''''''''''''''''''''''''''''0''''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3" name="Text Placeholder">
            <a:extLst>
              <a:ext uri="{FF2B5EF4-FFF2-40B4-BE49-F238E27FC236}">
                <a16:creationId xmlns:a16="http://schemas.microsoft.com/office/drawing/2014/main" id="{18CED760-AF58-2D0B-F0BD-C4BF67BB2974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8027988" y="5241925"/>
            <a:ext cx="1916113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25056B-F082-4AE9-B9AA-966779D88A0D}" type="datetime'''9''''''''''''''''.''''''''''0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15" name="Text Placeholder">
            <a:extLst>
              <a:ext uri="{FF2B5EF4-FFF2-40B4-BE49-F238E27FC236}">
                <a16:creationId xmlns:a16="http://schemas.microsoft.com/office/drawing/2014/main" id="{78449EED-037A-D62C-36F3-7659D3BE53C4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9944100" y="5241925"/>
            <a:ext cx="1912938" cy="338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7788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3260687-23C1-41D4-AA11-C88DACF51DA6}" type="datetime'''9''''''''''''''''''''''''''''''.''''''''0'''''''''''">
              <a:rPr lang="en-GB" altLang="en-US" sz="1200" smtClean="0">
                <a:solidFill>
                  <a:srgbClr val="000000"/>
                </a:solidFill>
              </a:rPr>
              <a:pPr/>
              <a:t>9.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grpSp>
        <p:nvGrpSpPr>
          <p:cNvPr id="19" name="btfpRunningAgenda1Level573689">
            <a:extLst>
              <a:ext uri="{FF2B5EF4-FFF2-40B4-BE49-F238E27FC236}">
                <a16:creationId xmlns:a16="http://schemas.microsoft.com/office/drawing/2014/main" id="{E11C69E1-2F5C-B600-B52A-9FD984247481}"/>
              </a:ext>
            </a:extLst>
          </p:cNvPr>
          <p:cNvGrpSpPr/>
          <p:nvPr>
            <p:custDataLst>
              <p:tags r:id="rId48"/>
            </p:custDataLst>
          </p:nvPr>
        </p:nvGrpSpPr>
        <p:grpSpPr>
          <a:xfrm>
            <a:off x="0" y="944429"/>
            <a:ext cx="2824711" cy="257442"/>
            <a:chOff x="0" y="876300"/>
            <a:chExt cx="2824711" cy="257442"/>
          </a:xfrm>
        </p:grpSpPr>
        <p:sp>
          <p:nvSpPr>
            <p:cNvPr id="20" name="btfpRunningAgenda1LevelBarLeft573689">
              <a:extLst>
                <a:ext uri="{FF2B5EF4-FFF2-40B4-BE49-F238E27FC236}">
                  <a16:creationId xmlns:a16="http://schemas.microsoft.com/office/drawing/2014/main" id="{DCC41D1E-BAE1-50EF-27FC-CBDC1B627D73}"/>
                </a:ext>
              </a:extLst>
            </p:cNvPr>
            <p:cNvSpPr/>
            <p:nvPr/>
          </p:nvSpPr>
          <p:spPr bwMode="gray">
            <a:xfrm>
              <a:off x="0" y="876300"/>
              <a:ext cx="2824711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2013592 w 2013592"/>
                <a:gd name="connsiteY0" fmla="*/ 0 h 257442"/>
                <a:gd name="connsiteX1" fmla="*/ 1655904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2 w 2013592"/>
                <a:gd name="connsiteY0" fmla="*/ 0 h 257442"/>
                <a:gd name="connsiteX1" fmla="*/ 1958870 w 2013592"/>
                <a:gd name="connsiteY1" fmla="*/ 257442 h 257442"/>
                <a:gd name="connsiteX2" fmla="*/ 0 w 2013592"/>
                <a:gd name="connsiteY2" fmla="*/ 257442 h 257442"/>
                <a:gd name="connsiteX3" fmla="*/ 0 w 2013592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013593 w 2013593"/>
                <a:gd name="connsiteY0" fmla="*/ 0 h 257442"/>
                <a:gd name="connsiteX1" fmla="*/ 1958871 w 2013593"/>
                <a:gd name="connsiteY1" fmla="*/ 257442 h 257442"/>
                <a:gd name="connsiteX2" fmla="*/ 0 w 2013593"/>
                <a:gd name="connsiteY2" fmla="*/ 257442 h 257442"/>
                <a:gd name="connsiteX3" fmla="*/ 1 w 2013593"/>
                <a:gd name="connsiteY3" fmla="*/ 0 h 257442"/>
                <a:gd name="connsiteX0" fmla="*/ 2191526 w 2191526"/>
                <a:gd name="connsiteY0" fmla="*/ 0 h 257442"/>
                <a:gd name="connsiteX1" fmla="*/ 1958871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1 w 2191526"/>
                <a:gd name="connsiteY3" fmla="*/ 0 h 257442"/>
                <a:gd name="connsiteX0" fmla="*/ 2191526 w 2191526"/>
                <a:gd name="connsiteY0" fmla="*/ 0 h 257442"/>
                <a:gd name="connsiteX1" fmla="*/ 2136804 w 2191526"/>
                <a:gd name="connsiteY1" fmla="*/ 257442 h 257442"/>
                <a:gd name="connsiteX2" fmla="*/ 0 w 2191526"/>
                <a:gd name="connsiteY2" fmla="*/ 257442 h 257442"/>
                <a:gd name="connsiteX3" fmla="*/ 0 w 2191526"/>
                <a:gd name="connsiteY3" fmla="*/ 0 h 257442"/>
                <a:gd name="connsiteX0" fmla="*/ 2512126 w 2512126"/>
                <a:gd name="connsiteY0" fmla="*/ 0 h 257442"/>
                <a:gd name="connsiteX1" fmla="*/ 2136804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512126 w 2512126"/>
                <a:gd name="connsiteY0" fmla="*/ 0 h 257442"/>
                <a:gd name="connsiteX1" fmla="*/ 2457405 w 2512126"/>
                <a:gd name="connsiteY1" fmla="*/ 257442 h 257442"/>
                <a:gd name="connsiteX2" fmla="*/ 0 w 2512126"/>
                <a:gd name="connsiteY2" fmla="*/ 257442 h 257442"/>
                <a:gd name="connsiteX3" fmla="*/ 0 w 2512126"/>
                <a:gd name="connsiteY3" fmla="*/ 0 h 257442"/>
                <a:gd name="connsiteX0" fmla="*/ 2824711 w 2824711"/>
                <a:gd name="connsiteY0" fmla="*/ 0 h 257442"/>
                <a:gd name="connsiteX1" fmla="*/ 2457405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  <a:gd name="connsiteX0" fmla="*/ 2824711 w 2824711"/>
                <a:gd name="connsiteY0" fmla="*/ 0 h 257442"/>
                <a:gd name="connsiteX1" fmla="*/ 2769990 w 2824711"/>
                <a:gd name="connsiteY1" fmla="*/ 257442 h 257442"/>
                <a:gd name="connsiteX2" fmla="*/ 0 w 2824711"/>
                <a:gd name="connsiteY2" fmla="*/ 257442 h 257442"/>
                <a:gd name="connsiteX3" fmla="*/ 0 w 2824711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24711" h="257442">
                  <a:moveTo>
                    <a:pt x="2824711" y="0"/>
                  </a:moveTo>
                  <a:lnTo>
                    <a:pt x="2769990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23" name="btfpRunningAgenda1LevelTextLeft573689">
              <a:extLst>
                <a:ext uri="{FF2B5EF4-FFF2-40B4-BE49-F238E27FC236}">
                  <a16:creationId xmlns:a16="http://schemas.microsoft.com/office/drawing/2014/main" id="{9F288AD6-8414-7929-91BC-72CB42C039FA}"/>
                </a:ext>
              </a:extLst>
            </p:cNvPr>
            <p:cNvSpPr txBox="1"/>
            <p:nvPr/>
          </p:nvSpPr>
          <p:spPr bwMode="gray">
            <a:xfrm>
              <a:off x="0" y="876300"/>
              <a:ext cx="2769990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absolute-view</a:t>
              </a:r>
            </a:p>
          </p:txBody>
        </p:sp>
      </p:grpSp>
      <p:sp>
        <p:nvSpPr>
          <p:cNvPr id="24" name="btfpBulletedList765030">
            <a:extLst>
              <a:ext uri="{FF2B5EF4-FFF2-40B4-BE49-F238E27FC236}">
                <a16:creationId xmlns:a16="http://schemas.microsoft.com/office/drawing/2014/main" id="{ADF3F444-3F8A-1B00-9B7B-E8665CC5F889}"/>
              </a:ext>
            </a:extLst>
          </p:cNvPr>
          <p:cNvSpPr/>
          <p:nvPr/>
        </p:nvSpPr>
        <p:spPr bwMode="gray">
          <a:xfrm>
            <a:off x="8954100" y="0"/>
            <a:ext cx="3237900" cy="17471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s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urrency in data row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7A2B64F0-D0CA-0700-67B2-0259B6EB08B1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3</a:t>
            </a:r>
          </a:p>
        </p:txBody>
      </p:sp>
      <p:sp>
        <p:nvSpPr>
          <p:cNvPr id="15" name="Text Placeholder">
            <a:extLst>
              <a:ext uri="{FF2B5EF4-FFF2-40B4-BE49-F238E27FC236}">
                <a16:creationId xmlns:a16="http://schemas.microsoft.com/office/drawing/2014/main" id="{792A858F-BA27-8464-F737-5EDC6416DBEB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330200" y="5580064"/>
            <a:ext cx="1955800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D1C5A255-5AD0-45BA-9BEE-70FACE2492F3}" type="datetime'Fi''''nanc''e''''''''''''d em''''''is''s''ions'' (tCO2''e)'''">
              <a:rPr lang="en-GB" altLang="en-US" sz="1200" smtClean="0">
                <a:solidFill>
                  <a:srgbClr val="000000"/>
                </a:solidFill>
              </a:rPr>
              <a:pPr/>
              <a:t>Financed emissions (tCO2e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8" name="Text Placeholder">
            <a:extLst>
              <a:ext uri="{FF2B5EF4-FFF2-40B4-BE49-F238E27FC236}">
                <a16:creationId xmlns:a16="http://schemas.microsoft.com/office/drawing/2014/main" id="{01158BF4-6876-64C5-6694-5EAEDBE35BD9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2286000" y="5580064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241BF4E-223E-4646-9C10-60563EE9572F}" type="datetime'''''''''''''''''''''''''''15'',9''''4''''''''0'''''">
              <a:rPr lang="en-GB" altLang="en-US" sz="1200" smtClean="0">
                <a:solidFill>
                  <a:srgbClr val="000000"/>
                </a:solidFill>
              </a:rPr>
              <a:pPr/>
              <a:t>15,94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2DE71076-E69B-F630-678C-3B8E5DC7C6F8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4198938" y="5580064"/>
            <a:ext cx="19161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55A651E-2878-4502-A613-5473EBDFE1E8}" type="datetime'''''''''1''''''8'',''20''''0'''''''''''">
              <a:rPr lang="en-GB" altLang="en-US" sz="1200" smtClean="0">
                <a:solidFill>
                  <a:srgbClr val="000000"/>
                </a:solidFill>
              </a:rPr>
              <a:pPr/>
              <a:t>18,2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1" name="Text Placeholder">
            <a:extLst>
              <a:ext uri="{FF2B5EF4-FFF2-40B4-BE49-F238E27FC236}">
                <a16:creationId xmlns:a16="http://schemas.microsoft.com/office/drawing/2014/main" id="{0ACA7CE1-D089-2BF4-9B26-6C121AD9C081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6115050" y="5580064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DB4AEFB-ACCA-45FB-A31B-BF591D698EBF}" type="datetime'''''''''''''''''1''''''7,''''''''''''''''7''''''''0''''''0'''">
              <a:rPr lang="en-GB" altLang="en-US" sz="1200" smtClean="0">
                <a:solidFill>
                  <a:srgbClr val="000000"/>
                </a:solidFill>
              </a:rPr>
              <a:pPr/>
              <a:t>17,7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1E43FCDE-DFC8-61AE-DA6B-D63275E5D3D0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8027988" y="5580064"/>
            <a:ext cx="1916113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DAFBA70-EB53-4E6D-A2C0-D5B676522672}" type="datetime'''''''''''''''1''''''''''7'''''',''80''0'''">
              <a:rPr lang="en-GB" altLang="en-US" sz="1200" smtClean="0">
                <a:solidFill>
                  <a:srgbClr val="000000"/>
                </a:solidFill>
              </a:rPr>
              <a:pPr/>
              <a:t>17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8" name="Text Placeholder">
            <a:extLst>
              <a:ext uri="{FF2B5EF4-FFF2-40B4-BE49-F238E27FC236}">
                <a16:creationId xmlns:a16="http://schemas.microsoft.com/office/drawing/2014/main" id="{DD21AB7A-EABA-3856-D7F0-CDC32BCD5C10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9944100" y="5580064"/>
            <a:ext cx="1912938" cy="33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79375" rIns="0" bIns="77788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6FD31728-6F86-4AAF-B666-620842010755}" type="datetime'''14'''',''''''''''''''8''''0''''''''''''0'''''''''">
              <a:rPr lang="en-GB" altLang="en-US" sz="1200" smtClean="0">
                <a:solidFill>
                  <a:srgbClr val="000000"/>
                </a:solidFill>
              </a:rPr>
              <a:pPr/>
              <a:t>14,8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6" name="btfpNotesBox623158">
            <a:extLst>
              <a:ext uri="{FF2B5EF4-FFF2-40B4-BE49-F238E27FC236}">
                <a16:creationId xmlns:a16="http://schemas.microsoft.com/office/drawing/2014/main" id="{B6514861-0972-57E9-6676-4F3410D92A2C}"/>
              </a:ext>
            </a:extLst>
          </p:cNvPr>
          <p:cNvSpPr txBox="1"/>
          <p:nvPr>
            <p:custDataLst>
              <p:tags r:id="rId55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PortCo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/ financed emissions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39615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B837780B-466D-0A9F-4F23-F66F25009B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21722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484" imgH="486" progId="TCLayout.ActiveDocument.1">
                  <p:embed/>
                </p:oleObj>
              </mc:Choice>
              <mc:Fallback>
                <p:oleObj name="think-cell Slide" r:id="rId64" imgW="484" imgH="486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37780B-466D-0A9F-4F23-F66F25009B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0" name="btfpColumnIndicatorGroup2">
            <a:extLst>
              <a:ext uri="{FF2B5EF4-FFF2-40B4-BE49-F238E27FC236}">
                <a16:creationId xmlns:a16="http://schemas.microsoft.com/office/drawing/2014/main" id="{6EC76E02-27AC-FFF3-0284-5C12A8A71160}"/>
              </a:ext>
            </a:extLst>
          </p:cNvPr>
          <p:cNvGrpSpPr/>
          <p:nvPr/>
        </p:nvGrpSpPr>
        <p:grpSpPr>
          <a:xfrm>
            <a:off x="0" y="6926580"/>
            <a:ext cx="12192000" cy="137160"/>
            <a:chOff x="0" y="6926580"/>
            <a:chExt cx="12192000" cy="137160"/>
          </a:xfrm>
        </p:grpSpPr>
        <p:sp>
          <p:nvSpPr>
            <p:cNvPr id="77" name="btfpColumnGapBlocker739435">
              <a:extLst>
                <a:ext uri="{FF2B5EF4-FFF2-40B4-BE49-F238E27FC236}">
                  <a16:creationId xmlns:a16="http://schemas.microsoft.com/office/drawing/2014/main" id="{C989AB54-B5A4-CA12-7B1C-8C20CF0F7558}"/>
                </a:ext>
              </a:extLst>
            </p:cNvPr>
            <p:cNvSpPr/>
            <p:nvPr/>
          </p:nvSpPr>
          <p:spPr bwMode="gray">
            <a:xfrm>
              <a:off x="1186180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5" name="btfpColumnGapBlocker986182">
              <a:extLst>
                <a:ext uri="{FF2B5EF4-FFF2-40B4-BE49-F238E27FC236}">
                  <a16:creationId xmlns:a16="http://schemas.microsoft.com/office/drawing/2014/main" id="{749759F2-E15D-6C85-4092-64949F410665}"/>
                </a:ext>
              </a:extLst>
            </p:cNvPr>
            <p:cNvSpPr/>
            <p:nvPr/>
          </p:nvSpPr>
          <p:spPr bwMode="gray">
            <a:xfrm>
              <a:off x="7837752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73" name="btfpColumnIndicator421936">
              <a:extLst>
                <a:ext uri="{FF2B5EF4-FFF2-40B4-BE49-F238E27FC236}">
                  <a16:creationId xmlns:a16="http://schemas.microsoft.com/office/drawing/2014/main" id="{CB48005C-8048-0D5E-836B-447B415AB448}"/>
                </a:ext>
              </a:extLst>
            </p:cNvPr>
            <p:cNvCxnSpPr/>
            <p:nvPr/>
          </p:nvCxnSpPr>
          <p:spPr bwMode="gray">
            <a:xfrm flipV="1">
              <a:off x="118618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btfpColumnIndicator858083">
              <a:extLst>
                <a:ext uri="{FF2B5EF4-FFF2-40B4-BE49-F238E27FC236}">
                  <a16:creationId xmlns:a16="http://schemas.microsoft.com/office/drawing/2014/main" id="{D1FA050E-71BC-BFB0-B0FD-E17722AAEFA3}"/>
                </a:ext>
              </a:extLst>
            </p:cNvPr>
            <p:cNvCxnSpPr/>
            <p:nvPr/>
          </p:nvCxnSpPr>
          <p:spPr bwMode="gray">
            <a:xfrm flipV="1">
              <a:off x="8378296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btfpColumnGapBlocker982165">
              <a:extLst>
                <a:ext uri="{FF2B5EF4-FFF2-40B4-BE49-F238E27FC236}">
                  <a16:creationId xmlns:a16="http://schemas.microsoft.com/office/drawing/2014/main" id="{93C896E3-AF1B-293D-ECE3-938BEF74AEC2}"/>
                </a:ext>
              </a:extLst>
            </p:cNvPr>
            <p:cNvSpPr/>
            <p:nvPr/>
          </p:nvSpPr>
          <p:spPr bwMode="gray">
            <a:xfrm>
              <a:off x="3813704" y="692658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7" name="btfpColumnIndicator428910">
              <a:extLst>
                <a:ext uri="{FF2B5EF4-FFF2-40B4-BE49-F238E27FC236}">
                  <a16:creationId xmlns:a16="http://schemas.microsoft.com/office/drawing/2014/main" id="{FE98EAE4-D990-DB43-0CB3-2F1A0842B1C1}"/>
                </a:ext>
              </a:extLst>
            </p:cNvPr>
            <p:cNvCxnSpPr/>
            <p:nvPr/>
          </p:nvCxnSpPr>
          <p:spPr bwMode="gray">
            <a:xfrm flipV="1">
              <a:off x="7837752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btfpColumnIndicator155807">
              <a:extLst>
                <a:ext uri="{FF2B5EF4-FFF2-40B4-BE49-F238E27FC236}">
                  <a16:creationId xmlns:a16="http://schemas.microsoft.com/office/drawing/2014/main" id="{A79575C4-3C20-81A7-10E8-DF397938712E}"/>
                </a:ext>
              </a:extLst>
            </p:cNvPr>
            <p:cNvCxnSpPr/>
            <p:nvPr/>
          </p:nvCxnSpPr>
          <p:spPr bwMode="gray">
            <a:xfrm flipV="1">
              <a:off x="4354248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btfpColumnGapBlocker485350">
              <a:extLst>
                <a:ext uri="{FF2B5EF4-FFF2-40B4-BE49-F238E27FC236}">
                  <a16:creationId xmlns:a16="http://schemas.microsoft.com/office/drawing/2014/main" id="{A777EFD0-DC67-510D-F113-B73C59474738}"/>
                </a:ext>
              </a:extLst>
            </p:cNvPr>
            <p:cNvSpPr/>
            <p:nvPr/>
          </p:nvSpPr>
          <p:spPr bwMode="gray">
            <a:xfrm>
              <a:off x="0" y="692658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1" name="btfpColumnIndicator327485">
              <a:extLst>
                <a:ext uri="{FF2B5EF4-FFF2-40B4-BE49-F238E27FC236}">
                  <a16:creationId xmlns:a16="http://schemas.microsoft.com/office/drawing/2014/main" id="{C63D5BCC-EC67-FE31-6318-EABDA3C945B8}"/>
                </a:ext>
              </a:extLst>
            </p:cNvPr>
            <p:cNvCxnSpPr/>
            <p:nvPr/>
          </p:nvCxnSpPr>
          <p:spPr bwMode="gray">
            <a:xfrm flipV="1">
              <a:off x="3813704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btfpColumnIndicator375688">
              <a:extLst>
                <a:ext uri="{FF2B5EF4-FFF2-40B4-BE49-F238E27FC236}">
                  <a16:creationId xmlns:a16="http://schemas.microsoft.com/office/drawing/2014/main" id="{EBB22163-B264-C774-EF57-AD74493A1FDD}"/>
                </a:ext>
              </a:extLst>
            </p:cNvPr>
            <p:cNvCxnSpPr/>
            <p:nvPr/>
          </p:nvCxnSpPr>
          <p:spPr bwMode="gray">
            <a:xfrm flipV="1">
              <a:off x="330200" y="692658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9" name="btfpColumnIndicatorGroup1">
            <a:extLst>
              <a:ext uri="{FF2B5EF4-FFF2-40B4-BE49-F238E27FC236}">
                <a16:creationId xmlns:a16="http://schemas.microsoft.com/office/drawing/2014/main" id="{79B8F6BB-3052-7026-FC13-657B96803509}"/>
              </a:ext>
            </a:extLst>
          </p:cNvPr>
          <p:cNvGrpSpPr/>
          <p:nvPr/>
        </p:nvGrpSpPr>
        <p:grpSpPr>
          <a:xfrm>
            <a:off x="0" y="-205740"/>
            <a:ext cx="12192000" cy="137160"/>
            <a:chOff x="0" y="-205740"/>
            <a:chExt cx="12192000" cy="137160"/>
          </a:xfrm>
        </p:grpSpPr>
        <p:sp>
          <p:nvSpPr>
            <p:cNvPr id="76" name="btfpColumnGapBlocker587555">
              <a:extLst>
                <a:ext uri="{FF2B5EF4-FFF2-40B4-BE49-F238E27FC236}">
                  <a16:creationId xmlns:a16="http://schemas.microsoft.com/office/drawing/2014/main" id="{89DAA59D-EE1C-5109-8044-DFE8921C8123}"/>
                </a:ext>
              </a:extLst>
            </p:cNvPr>
            <p:cNvSpPr/>
            <p:nvPr/>
          </p:nvSpPr>
          <p:spPr bwMode="gray">
            <a:xfrm>
              <a:off x="1186180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4" name="btfpColumnGapBlocker477975">
              <a:extLst>
                <a:ext uri="{FF2B5EF4-FFF2-40B4-BE49-F238E27FC236}">
                  <a16:creationId xmlns:a16="http://schemas.microsoft.com/office/drawing/2014/main" id="{6B3C348C-727E-C5C1-DE16-C2CCF6ECEDF9}"/>
                </a:ext>
              </a:extLst>
            </p:cNvPr>
            <p:cNvSpPr/>
            <p:nvPr/>
          </p:nvSpPr>
          <p:spPr bwMode="gray">
            <a:xfrm>
              <a:off x="7837752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64" name="btfpColumnIndicator490156">
              <a:extLst>
                <a:ext uri="{FF2B5EF4-FFF2-40B4-BE49-F238E27FC236}">
                  <a16:creationId xmlns:a16="http://schemas.microsoft.com/office/drawing/2014/main" id="{5579EF93-29FA-1AAD-5BD6-AB4E50CFEDD2}"/>
                </a:ext>
              </a:extLst>
            </p:cNvPr>
            <p:cNvCxnSpPr/>
            <p:nvPr/>
          </p:nvCxnSpPr>
          <p:spPr bwMode="gray">
            <a:xfrm flipV="1">
              <a:off x="118618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btfpColumnIndicator280763">
              <a:extLst>
                <a:ext uri="{FF2B5EF4-FFF2-40B4-BE49-F238E27FC236}">
                  <a16:creationId xmlns:a16="http://schemas.microsoft.com/office/drawing/2014/main" id="{DC8346CD-3652-AB28-FA48-66986666EFE3}"/>
                </a:ext>
              </a:extLst>
            </p:cNvPr>
            <p:cNvCxnSpPr/>
            <p:nvPr/>
          </p:nvCxnSpPr>
          <p:spPr bwMode="gray">
            <a:xfrm flipV="1">
              <a:off x="8378296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btfpColumnGapBlocker196169">
              <a:extLst>
                <a:ext uri="{FF2B5EF4-FFF2-40B4-BE49-F238E27FC236}">
                  <a16:creationId xmlns:a16="http://schemas.microsoft.com/office/drawing/2014/main" id="{A494B87A-50D5-B9F4-9B08-F2B574CC8C1B}"/>
                </a:ext>
              </a:extLst>
            </p:cNvPr>
            <p:cNvSpPr/>
            <p:nvPr/>
          </p:nvSpPr>
          <p:spPr bwMode="gray">
            <a:xfrm>
              <a:off x="3813704" y="-205740"/>
              <a:ext cx="540544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6" name="btfpColumnIndicator219487">
              <a:extLst>
                <a:ext uri="{FF2B5EF4-FFF2-40B4-BE49-F238E27FC236}">
                  <a16:creationId xmlns:a16="http://schemas.microsoft.com/office/drawing/2014/main" id="{3FA23686-51F4-4648-2751-3E976D97C2BE}"/>
                </a:ext>
              </a:extLst>
            </p:cNvPr>
            <p:cNvCxnSpPr/>
            <p:nvPr/>
          </p:nvCxnSpPr>
          <p:spPr bwMode="gray">
            <a:xfrm flipV="1">
              <a:off x="7837752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btfpColumnIndicator606558">
              <a:extLst>
                <a:ext uri="{FF2B5EF4-FFF2-40B4-BE49-F238E27FC236}">
                  <a16:creationId xmlns:a16="http://schemas.microsoft.com/office/drawing/2014/main" id="{56788B38-40DA-54EE-C52E-0D4A50840744}"/>
                </a:ext>
              </a:extLst>
            </p:cNvPr>
            <p:cNvCxnSpPr/>
            <p:nvPr/>
          </p:nvCxnSpPr>
          <p:spPr bwMode="gray">
            <a:xfrm flipV="1">
              <a:off x="4354248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2" name="btfpColumnGapBlocker290698">
              <a:extLst>
                <a:ext uri="{FF2B5EF4-FFF2-40B4-BE49-F238E27FC236}">
                  <a16:creationId xmlns:a16="http://schemas.microsoft.com/office/drawing/2014/main" id="{8AA75005-C837-9895-2307-412E767BB92D}"/>
                </a:ext>
              </a:extLst>
            </p:cNvPr>
            <p:cNvSpPr/>
            <p:nvPr/>
          </p:nvSpPr>
          <p:spPr bwMode="gray">
            <a:xfrm>
              <a:off x="0" y="-205740"/>
              <a:ext cx="330200" cy="137160"/>
            </a:xfrm>
            <a:prstGeom prst="rect">
              <a:avLst/>
            </a:prstGeom>
            <a:pattFill prst="ltUpDiag">
              <a:fgClr>
                <a:srgbClr val="333333">
                  <a:alpha val="50000"/>
                </a:srgbClr>
              </a:fgClr>
              <a:bgClr>
                <a:srgbClr val="FFFFFF">
                  <a:alpha val="50000"/>
                </a:srgbClr>
              </a:bgClr>
            </a:pattFill>
            <a:ln w="9525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tx1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711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50" name="btfpColumnIndicator769013">
              <a:extLst>
                <a:ext uri="{FF2B5EF4-FFF2-40B4-BE49-F238E27FC236}">
                  <a16:creationId xmlns:a16="http://schemas.microsoft.com/office/drawing/2014/main" id="{9FCB1D6F-BB13-3DDC-37A5-858DC44DE966}"/>
                </a:ext>
              </a:extLst>
            </p:cNvPr>
            <p:cNvCxnSpPr/>
            <p:nvPr/>
          </p:nvCxnSpPr>
          <p:spPr bwMode="gray">
            <a:xfrm flipV="1">
              <a:off x="3813704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btfpColumnIndicator845048">
              <a:extLst>
                <a:ext uri="{FF2B5EF4-FFF2-40B4-BE49-F238E27FC236}">
                  <a16:creationId xmlns:a16="http://schemas.microsoft.com/office/drawing/2014/main" id="{E5FFF90D-A031-F1BF-1763-D5FC52E178CD}"/>
                </a:ext>
              </a:extLst>
            </p:cNvPr>
            <p:cNvCxnSpPr/>
            <p:nvPr/>
          </p:nvCxnSpPr>
          <p:spPr bwMode="gray">
            <a:xfrm flipV="1">
              <a:off x="330200" y="-205740"/>
              <a:ext cx="0" cy="137160"/>
            </a:xfrm>
            <a:prstGeom prst="line">
              <a:avLst/>
            </a:prstGeom>
            <a:ln w="3175" cap="flat" cmpd="sng" algn="ctr">
              <a:solidFill>
                <a:srgbClr val="B4B4B4"/>
              </a:solidFill>
              <a:prstDash val="solid"/>
              <a:miter lim="800000"/>
              <a:headEnd type="none" w="med" len="med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C16620C-FE1B-294A-0E2E-56889A403A77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334963" y="1"/>
            <a:ext cx="11522075" cy="876687"/>
          </a:xfrm>
        </p:spPr>
        <p:txBody>
          <a:bodyPr vert="horz"/>
          <a:lstStyle/>
          <a:p>
            <a:r>
              <a:rPr lang="en-GB" dirty="0"/>
              <a:t>Portfolio alignment by fund and financed emission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2FE8BD7-144D-9286-5780-6AD5D1BB93B3}"/>
              </a:ext>
            </a:extLst>
          </p:cNvPr>
          <p:cNvGraphicFramePr/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68080152"/>
              </p:ext>
            </p:extLst>
          </p:nvPr>
        </p:nvGraphicFramePr>
        <p:xfrm>
          <a:off x="1244600" y="1519238"/>
          <a:ext cx="10694988" cy="3235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8" name="Text Placeholder">
            <a:extLst>
              <a:ext uri="{FF2B5EF4-FFF2-40B4-BE49-F238E27FC236}">
                <a16:creationId xmlns:a16="http://schemas.microsoft.com/office/drawing/2014/main" id="{0092B1ED-7C23-BDEC-8BF0-1554E51B7C4A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963612" y="4397375"/>
            <a:ext cx="26193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7B0D0E54-CE92-448E-B31C-2D5B14FB12F3}" type="datetime'''''''''''0'''''''''' ''%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8" name="Text Placeholder">
            <a:extLst>
              <a:ext uri="{FF2B5EF4-FFF2-40B4-BE49-F238E27FC236}">
                <a16:creationId xmlns:a16="http://schemas.microsoft.com/office/drawing/2014/main" id="{240B0806-4115-D4BA-71A8-DF061BC16806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879475" y="3857625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B091552-E8D7-4DF2-857C-839EA4B7B27D}" type="datetime'''2''''''0'' ''%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9" name="Text Placeholder">
            <a:extLst>
              <a:ext uri="{FF2B5EF4-FFF2-40B4-BE49-F238E27FC236}">
                <a16:creationId xmlns:a16="http://schemas.microsoft.com/office/drawing/2014/main" id="{007C75DE-8E55-DD45-1061-0B5953D34C83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879475" y="331628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4DA0EBDA-276C-4E24-B9F6-16598E3C69A1}" type="datetime'''''''''''''''''''4''''0'' ''''''%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4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0" name="Text Placeholder">
            <a:extLst>
              <a:ext uri="{FF2B5EF4-FFF2-40B4-BE49-F238E27FC236}">
                <a16:creationId xmlns:a16="http://schemas.microsoft.com/office/drawing/2014/main" id="{31FB6215-A5F6-4FE0-C6CE-9CBDD6411FAE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879475" y="2776538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EE91633A-B999-4287-919C-F18BAC1507CC}" type="datetime'''''''''6''''''''''''''''''''0'''''''''''''' 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6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1" name="Text Placeholder">
            <a:extLst>
              <a:ext uri="{FF2B5EF4-FFF2-40B4-BE49-F238E27FC236}">
                <a16:creationId xmlns:a16="http://schemas.microsoft.com/office/drawing/2014/main" id="{03477EC6-F156-20F9-E52B-C40965C8DB4A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879475" y="2235200"/>
            <a:ext cx="3460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561CBB3F-52FC-4A6A-BDDE-11152A272340}" type="datetime'8''''''''''''''0'''''''''''''''''' ''''''''''%''''''''''''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8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4" name="Text Placeholder">
            <a:extLst>
              <a:ext uri="{FF2B5EF4-FFF2-40B4-BE49-F238E27FC236}">
                <a16:creationId xmlns:a16="http://schemas.microsoft.com/office/drawing/2014/main" id="{E15DAA8F-55FD-0912-037E-4C35B82EB0E0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795338" y="1695450"/>
            <a:ext cx="430213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r">
              <a:spcBef>
                <a:spcPct val="0"/>
              </a:spcBef>
              <a:spcAft>
                <a:spcPct val="0"/>
              </a:spcAft>
              <a:buNone/>
            </a:pPr>
            <a:fld id="{92C1DAA7-4CA5-4FB2-846A-55E2AD2D2901}" type="datetime'''''''''''''''''''''1''''''''00'''''' ''''''''''''''''''''%'">
              <a:rPr lang="en-GB" altLang="en-US" sz="1200" smtClean="0">
                <a:solidFill>
                  <a:srgbClr val="000000"/>
                </a:solidFill>
              </a:rPr>
              <a:pPr marL="0" lvl="3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107" name="Straight Connector 106">
            <a:extLst>
              <a:ext uri="{FF2B5EF4-FFF2-40B4-BE49-F238E27FC236}">
                <a16:creationId xmlns:a16="http://schemas.microsoft.com/office/drawing/2014/main" id="{E0DB4FBD-7BA8-BC66-4003-E8D5B09E46E0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 flipH="1">
            <a:off x="2420938" y="4370389"/>
            <a:ext cx="95250" cy="539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7" name="Straight Connector 126">
            <a:extLst>
              <a:ext uri="{FF2B5EF4-FFF2-40B4-BE49-F238E27FC236}">
                <a16:creationId xmlns:a16="http://schemas.microsoft.com/office/drawing/2014/main" id="{B6745FD9-F779-266F-0F0C-5DADBC0D94B3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 flipH="1">
            <a:off x="5429250" y="4370388"/>
            <a:ext cx="95250" cy="666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0" name="Straight Connector 129">
            <a:extLst>
              <a:ext uri="{FF2B5EF4-FFF2-40B4-BE49-F238E27FC236}">
                <a16:creationId xmlns:a16="http://schemas.microsoft.com/office/drawing/2014/main" id="{995D3AF4-6FC8-46B4-D5EF-9EC32EC61E5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 flipH="1">
            <a:off x="5429250" y="4187825"/>
            <a:ext cx="95250" cy="12858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6" name="Straight Connector 265">
            <a:extLst>
              <a:ext uri="{FF2B5EF4-FFF2-40B4-BE49-F238E27FC236}">
                <a16:creationId xmlns:a16="http://schemas.microsoft.com/office/drawing/2014/main" id="{27D605FF-5BF1-0A77-9706-A2A6D629081C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 flipH="1">
            <a:off x="5429250" y="4097339"/>
            <a:ext cx="95250" cy="92075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69" name="Straight Connector 268">
            <a:extLst>
              <a:ext uri="{FF2B5EF4-FFF2-40B4-BE49-F238E27FC236}">
                <a16:creationId xmlns:a16="http://schemas.microsoft.com/office/drawing/2014/main" id="{D6481113-9C41-B3CE-1C3E-CBCD3F2AD284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 flipH="1">
            <a:off x="9942513" y="4370388"/>
            <a:ext cx="95250" cy="96838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0" name="Straight Connector 269">
            <a:extLst>
              <a:ext uri="{FF2B5EF4-FFF2-40B4-BE49-F238E27FC236}">
                <a16:creationId xmlns:a16="http://schemas.microsoft.com/office/drawing/2014/main" id="{6D63B5FA-CB3F-7476-3E9A-D1B9D13A25BF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gray">
          <a:xfrm flipH="1">
            <a:off x="11445875" y="4370388"/>
            <a:ext cx="95250" cy="87313"/>
          </a:xfrm>
          <a:prstGeom prst="line">
            <a:avLst/>
          </a:prstGeom>
          <a:ln w="9525" cap="flat" cmpd="sng" algn="ctr">
            <a:solidFill>
              <a:srgbClr val="000000"/>
            </a:solidFill>
            <a:prstDash val="solid"/>
            <a:miter lim="800000"/>
            <a:headEnd type="none" w="med" len="med"/>
            <a:tailEnd type="none" w="med" len="lg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6" name="Text Placeholder">
            <a:extLst>
              <a:ext uri="{FF2B5EF4-FFF2-40B4-BE49-F238E27FC236}">
                <a16:creationId xmlns:a16="http://schemas.microsoft.com/office/drawing/2014/main" id="{CCE6175D-3133-7A39-D174-CF78F7C6BC6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795338" y="1390650"/>
            <a:ext cx="41290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b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n-GB" sz="1200" dirty="0">
                <a:solidFill>
                  <a:srgbClr val="000000"/>
                </a:solidFill>
              </a:rPr>
              <a:t>Portfolio alignment by fund and financed emissions, 2023 (%)</a:t>
            </a:r>
          </a:p>
        </p:txBody>
      </p:sp>
      <p:sp>
        <p:nvSpPr>
          <p:cNvPr id="227" name="Text Placeholder">
            <a:extLst>
              <a:ext uri="{FF2B5EF4-FFF2-40B4-BE49-F238E27FC236}">
                <a16:creationId xmlns:a16="http://schemas.microsoft.com/office/drawing/2014/main" id="{008D3AB0-118B-1A45-356A-09B3369D53D1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1925637" y="4160838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7857AD9-48E4-4F96-B2F7-1F3915C5C59D}" type="datetime'''''''''''''''''''8'''''''''''''''''''''' 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8" name="Text Placeholder">
            <a:extLst>
              <a:ext uri="{FF2B5EF4-FFF2-40B4-BE49-F238E27FC236}">
                <a16:creationId xmlns:a16="http://schemas.microsoft.com/office/drawing/2014/main" id="{942B0107-B0D1-6921-209B-D1F49BF24C08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1882775" y="3694113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3502AFC3-87C3-4634-84E6-E32599ABE622}" type="datetime'''''''''''''''1''''0'''''''''''''' 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29" name="Text Placeholder">
            <a:extLst>
              <a:ext uri="{FF2B5EF4-FFF2-40B4-BE49-F238E27FC236}">
                <a16:creationId xmlns:a16="http://schemas.microsoft.com/office/drawing/2014/main" id="{D10E3CF7-9983-74D8-125F-DA949B35B032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3387725" y="385127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AC340E0-4967-4EAA-8477-5FE5838D9F2B}" type="datetime'''''''''''''''''''''''''''15'''''' ''''''%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0" name="Text Placeholder">
            <a:extLst>
              <a:ext uri="{FF2B5EF4-FFF2-40B4-BE49-F238E27FC236}">
                <a16:creationId xmlns:a16="http://schemas.microsoft.com/office/drawing/2014/main" id="{6C5382D5-242B-FF73-F7A7-39AF3AFA0319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3387725" y="313055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96B4D6E-509D-4041-950A-61698CB10C5C}" type="datetime'1''''''2'''''''''' ''''%''''''''''''''''''''''''''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1" name="Text Placeholder">
            <a:extLst>
              <a:ext uri="{FF2B5EF4-FFF2-40B4-BE49-F238E27FC236}">
                <a16:creationId xmlns:a16="http://schemas.microsoft.com/office/drawing/2014/main" id="{E00E2973-D906-2021-50E0-072D65B1B8D6}"/>
              </a:ext>
            </a:extLst>
          </p:cNvPr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6396038" y="3849688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664E86A-F151-4B74-A8F3-D96033209E4D}" type="datetime'''''''''''''''''''''''''16'''' ''''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2" name="Text Placeholder">
            <a:extLst>
              <a:ext uri="{FF2B5EF4-FFF2-40B4-BE49-F238E27FC236}">
                <a16:creationId xmlns:a16="http://schemas.microsoft.com/office/drawing/2014/main" id="{D9D20B39-C47E-A537-D678-236668143A48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6402388" y="3074988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0D0EA3F-CA25-4336-BCE9-2FFE2F71BA5A}" type="datetime'''''''''''1''''''''''''''''''''''''''''''1'''''''' ''''''%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3" name="Text Placeholder">
            <a:extLst>
              <a:ext uri="{FF2B5EF4-FFF2-40B4-BE49-F238E27FC236}">
                <a16:creationId xmlns:a16="http://schemas.microsoft.com/office/drawing/2014/main" id="{8097E91D-90E5-DE1F-5194-84DBB4D2E421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7899400" y="3771900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7DA1E0-840F-4FF7-9F92-E9ADFD4F8046}" type="datetime'3''2'''''''''''''''' ''''''''''''''''''''''''%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3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4" name="Text Placeholder">
            <a:extLst>
              <a:ext uri="{FF2B5EF4-FFF2-40B4-BE49-F238E27FC236}">
                <a16:creationId xmlns:a16="http://schemas.microsoft.com/office/drawing/2014/main" id="{06A03A36-433A-E2F5-0315-52E6675151E1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7905750" y="2424113"/>
            <a:ext cx="379413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72FB60A-A539-45FF-9655-2B3FF128174A}" type="datetime'1''''''''''''''''''''''1'' ''''''''''''%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1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5" name="Text Placeholder">
            <a:extLst>
              <a:ext uri="{FF2B5EF4-FFF2-40B4-BE49-F238E27FC236}">
                <a16:creationId xmlns:a16="http://schemas.microsoft.com/office/drawing/2014/main" id="{6C8DFCBE-0DF3-2DB2-471E-5CF1F00509BE}"/>
              </a:ext>
            </a:extLst>
          </p:cNvPr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9447212" y="4251325"/>
            <a:ext cx="306388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9C385CF-F127-4F8B-A2D1-DB26DD67235E}" type="datetime'''''''''''''''''''''''''8 ''''''''''''%''''''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8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236" name="Text Placeholder">
            <a:extLst>
              <a:ext uri="{FF2B5EF4-FFF2-40B4-BE49-F238E27FC236}">
                <a16:creationId xmlns:a16="http://schemas.microsoft.com/office/drawing/2014/main" id="{69B966D8-8514-DBFC-9EE1-D997006C768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10907713" y="4111625"/>
            <a:ext cx="390525" cy="182563"/>
          </a:xfrm>
          <a:prstGeom prst="rect">
            <a:avLst/>
          </a:prstGeom>
          <a:solidFill>
            <a:srgbClr val="FFFFFF"/>
          </a:solidFill>
          <a:ln>
            <a:noFill/>
          </a:ln>
          <a:effectLst/>
        </p:spPr>
        <p:txBody>
          <a:bodyPr vert="horz" wrap="none" lIns="22225" tIns="0" rIns="22225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84BC079-FEB1-4D0C-8219-3F9FF06DB5EE}" type="datetime'''''''''''1''''''''''''''''''''''''''''7'' ''''%'''''">
              <a:rPr lang="en-GB" altLang="en-US" sz="1200" smtClean="0">
                <a:solidFill>
                  <a:srgbClr val="000000"/>
                </a:solidFill>
                <a:effectLst/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8" name="Text Placeholder">
            <a:extLst>
              <a:ext uri="{FF2B5EF4-FFF2-40B4-BE49-F238E27FC236}">
                <a16:creationId xmlns:a16="http://schemas.microsoft.com/office/drawing/2014/main" id="{43AA7BFE-11BE-64B3-7C17-C51165D3E915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1327150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6D2959C-50FD-433C-9F74-9E55FEBB267D}" type="datetime'To''''''''''''''''''''''''''''''''''ta''l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Tota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9" name="Text Placeholder">
            <a:extLst>
              <a:ext uri="{FF2B5EF4-FFF2-40B4-BE49-F238E27FC236}">
                <a16:creationId xmlns:a16="http://schemas.microsoft.com/office/drawing/2014/main" id="{49BB9900-BB60-6A67-E4A7-566D7DA9D11F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35463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F1DBE8C-D49C-41A2-9DE8-5887FA00FA36}" type="datetime'''''''F''''''''u''''''''''''''nd'''''' ''''''''''I''''''''I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0" name="Text Placeholder">
            <a:extLst>
              <a:ext uri="{FF2B5EF4-FFF2-40B4-BE49-F238E27FC236}">
                <a16:creationId xmlns:a16="http://schemas.microsoft.com/office/drawing/2014/main" id="{46795A7F-62AC-F083-AC6A-8364BD116687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838825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FEC243C-8527-4B57-BAA7-F659A2AB37E5}" type="datetime'''''''F''u''n''''d'''''''''''''' ''''''''''''I''''I''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I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2" name="Text Placeholder">
            <a:extLst>
              <a:ext uri="{FF2B5EF4-FFF2-40B4-BE49-F238E27FC236}">
                <a16:creationId xmlns:a16="http://schemas.microsoft.com/office/drawing/2014/main" id="{9866139A-EF10-E3D8-02B5-A4BBD6BA7B4E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2830513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09DD516-419B-4E5E-B476-5BA142FBD234}" type="datetime'F''''''''u''''''''''''''''''n''''''''''''''''''''''d'' I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3" name="Text Placeholder">
            <a:extLst>
              <a:ext uri="{FF2B5EF4-FFF2-40B4-BE49-F238E27FC236}">
                <a16:creationId xmlns:a16="http://schemas.microsoft.com/office/drawing/2014/main" id="{9B2585DB-3ECB-24E0-60CB-3A4EE5AC8407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343775" y="4579938"/>
            <a:ext cx="1503363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0EFDE54-9FE2-4F4C-AD6F-A2AD4DB8DD57}" type="datetime'F''''''''''''''''un''''''''''''''''''d'''''' I''''''''V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IV</a:t>
            </a:fld>
            <a:endParaRPr lang="en-GB" sz="1200" dirty="0">
              <a:solidFill>
                <a:srgbClr val="000000"/>
              </a:solidFill>
            </a:endParaRPr>
          </a:p>
        </p:txBody>
      </p:sp>
      <p:grpSp>
        <p:nvGrpSpPr>
          <p:cNvPr id="3" name="btfpStatusSticker352542">
            <a:extLst>
              <a:ext uri="{FF2B5EF4-FFF2-40B4-BE49-F238E27FC236}">
                <a16:creationId xmlns:a16="http://schemas.microsoft.com/office/drawing/2014/main" id="{859C18D2-C2C5-B0DE-5F67-677D79A606B7}"/>
              </a:ext>
            </a:extLst>
          </p:cNvPr>
          <p:cNvGrpSpPr/>
          <p:nvPr>
            <p:custDataLst>
              <p:tags r:id="rId33"/>
            </p:custDataLst>
          </p:nvPr>
        </p:nvGrpSpPr>
        <p:grpSpPr>
          <a:xfrm>
            <a:off x="9998708" y="955344"/>
            <a:ext cx="1858330" cy="235611"/>
            <a:chOff x="-1727845" y="876300"/>
            <a:chExt cx="1858330" cy="235611"/>
          </a:xfrm>
        </p:grpSpPr>
        <p:sp>
          <p:nvSpPr>
            <p:cNvPr id="4" name="btfpStatusStickerText352542">
              <a:extLst>
                <a:ext uri="{FF2B5EF4-FFF2-40B4-BE49-F238E27FC236}">
                  <a16:creationId xmlns:a16="http://schemas.microsoft.com/office/drawing/2014/main" id="{08727F52-5091-C9C2-6F1D-4AA3EEBFD095}"/>
                </a:ext>
              </a:extLst>
            </p:cNvPr>
            <p:cNvSpPr txBox="1"/>
            <p:nvPr/>
          </p:nvSpPr>
          <p:spPr bwMode="gray">
            <a:xfrm>
              <a:off x="-1727845" y="876300"/>
              <a:ext cx="1858330" cy="235611"/>
            </a:xfrm>
            <a:prstGeom prst="rect">
              <a:avLst/>
            </a:prstGeom>
            <a:noFill/>
          </p:spPr>
          <p:txBody>
            <a:bodyPr vert="horz" wrap="none" lIns="72073" tIns="25226" rIns="0" bIns="25226" rtlCol="0" anchor="t">
              <a:spAutoFit/>
            </a:bodyPr>
            <a:lstStyle/>
            <a:p>
              <a:pPr marL="0" marR="0" lvl="0" indent="0" algn="r" defTabSz="711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all" spc="45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llustrative</a:t>
              </a:r>
            </a:p>
          </p:txBody>
        </p:sp>
        <p:cxnSp>
          <p:nvCxnSpPr>
            <p:cNvPr id="5" name="btfpStatusStickerLine352542">
              <a:extLst>
                <a:ext uri="{FF2B5EF4-FFF2-40B4-BE49-F238E27FC236}">
                  <a16:creationId xmlns:a16="http://schemas.microsoft.com/office/drawing/2014/main" id="{D17DED3C-07D0-1C41-077A-4C91280336CA}"/>
                </a:ext>
              </a:extLst>
            </p:cNvPr>
            <p:cNvCxnSpPr>
              <a:cxnSpLocks/>
            </p:cNvCxnSpPr>
            <p:nvPr/>
          </p:nvCxnSpPr>
          <p:spPr bwMode="gray">
            <a:xfrm rot="720000">
              <a:off x="-1727845" y="876300"/>
              <a:ext cx="0" cy="235611"/>
            </a:xfrm>
            <a:prstGeom prst="line">
              <a:avLst/>
            </a:prstGeom>
            <a:ln w="19050" cap="flat" cmpd="sng">
              <a:solidFill>
                <a:srgbClr val="000000"/>
              </a:solidFill>
              <a:prstDash val="solid"/>
              <a:miter lim="800000"/>
              <a:headEnd type="none"/>
              <a:tailEnd type="none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49668D03-212B-DF1C-AE70-0091BC30843C}"/>
              </a:ext>
            </a:extLst>
          </p:cNvPr>
          <p:cNvSpPr/>
          <p:nvPr/>
        </p:nvSpPr>
        <p:spPr bwMode="gray">
          <a:xfrm>
            <a:off x="1695449" y="5973809"/>
            <a:ext cx="10166355" cy="33566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DB43DAD-C2C2-4614-5ADD-4D8CBC7491B3}"/>
              </a:ext>
            </a:extLst>
          </p:cNvPr>
          <p:cNvSpPr txBox="1"/>
          <p:nvPr/>
        </p:nvSpPr>
        <p:spPr bwMode="gray">
          <a:xfrm>
            <a:off x="1409434" y="6033327"/>
            <a:ext cx="572030" cy="233498"/>
          </a:xfrm>
          <a:prstGeom prst="rect">
            <a:avLst/>
          </a:prstGeom>
          <a:solidFill>
            <a:srgbClr val="FFFFFF"/>
          </a:solidFill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gend: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1DBD946-456D-1EDD-8D3D-F80CBBEFB59C}"/>
              </a:ext>
            </a:extLst>
          </p:cNvPr>
          <p:cNvSpPr/>
          <p:nvPr/>
        </p:nvSpPr>
        <p:spPr bwMode="gray">
          <a:xfrm>
            <a:off x="1989947" y="6078534"/>
            <a:ext cx="194734" cy="126212"/>
          </a:xfrm>
          <a:prstGeom prst="rect">
            <a:avLst/>
          </a:prstGeom>
          <a:solidFill>
            <a:srgbClr val="F0F0F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02B0880E-6701-57F1-B58C-4A7A698ABFA5}"/>
              </a:ext>
            </a:extLst>
          </p:cNvPr>
          <p:cNvSpPr/>
          <p:nvPr/>
        </p:nvSpPr>
        <p:spPr bwMode="gray">
          <a:xfrm>
            <a:off x="4178723" y="6078534"/>
            <a:ext cx="194734" cy="126212"/>
          </a:xfrm>
          <a:prstGeom prst="rect">
            <a:avLst/>
          </a:prstGeom>
          <a:solidFill>
            <a:srgbClr val="BAB9BA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8C39FF4-D7C4-435A-7027-35F378CAD49F}"/>
              </a:ext>
            </a:extLst>
          </p:cNvPr>
          <p:cNvSpPr txBox="1"/>
          <p:nvPr/>
        </p:nvSpPr>
        <p:spPr bwMode="gray">
          <a:xfrm>
            <a:off x="2218547" y="6028345"/>
            <a:ext cx="744674" cy="22659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 Started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97F156B-86F3-C20C-926E-CD029AB55F27}"/>
              </a:ext>
            </a:extLst>
          </p:cNvPr>
          <p:cNvSpPr/>
          <p:nvPr/>
        </p:nvSpPr>
        <p:spPr bwMode="gray">
          <a:xfrm>
            <a:off x="7315231" y="6078534"/>
            <a:ext cx="194734" cy="126212"/>
          </a:xfrm>
          <a:prstGeom prst="rect">
            <a:avLst/>
          </a:prstGeom>
          <a:solidFill>
            <a:srgbClr val="82AEB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628D0D8-ED09-8313-FFEE-86C7DFDB59FB}"/>
              </a:ext>
            </a:extLst>
          </p:cNvPr>
          <p:cNvSpPr txBox="1"/>
          <p:nvPr/>
        </p:nvSpPr>
        <p:spPr bwMode="gray">
          <a:xfrm>
            <a:off x="7545458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covers Scope 1-3)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81EAF9-CAB6-2CF6-2000-EAE54B756F0C}"/>
              </a:ext>
            </a:extLst>
          </p:cNvPr>
          <p:cNvSpPr txBox="1"/>
          <p:nvPr/>
        </p:nvSpPr>
        <p:spPr bwMode="gray">
          <a:xfrm>
            <a:off x="4408510" y="5951400"/>
            <a:ext cx="14265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5EE82058-B506-AEAC-AD2A-91B838B70147}"/>
              </a:ext>
            </a:extLst>
          </p:cNvPr>
          <p:cNvSpPr/>
          <p:nvPr/>
        </p:nvSpPr>
        <p:spPr bwMode="gray">
          <a:xfrm>
            <a:off x="9054861" y="6078534"/>
            <a:ext cx="194734" cy="126212"/>
          </a:xfrm>
          <a:prstGeom prst="rect">
            <a:avLst/>
          </a:prstGeom>
          <a:solidFill>
            <a:srgbClr val="43868B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C31901D-9C86-1896-27B2-FEAFCFA1FE8E}"/>
              </a:ext>
            </a:extLst>
          </p:cNvPr>
          <p:cNvSpPr txBox="1"/>
          <p:nvPr/>
        </p:nvSpPr>
        <p:spPr bwMode="gray">
          <a:xfrm>
            <a:off x="9299789" y="5951400"/>
            <a:ext cx="164007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ing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76CB1928-639E-B261-B4FA-A88F8D16F86E}"/>
              </a:ext>
            </a:extLst>
          </p:cNvPr>
          <p:cNvSpPr/>
          <p:nvPr/>
        </p:nvSpPr>
        <p:spPr bwMode="gray">
          <a:xfrm>
            <a:off x="10463743" y="6078534"/>
            <a:ext cx="194734" cy="126212"/>
          </a:xfrm>
          <a:prstGeom prst="rect">
            <a:avLst/>
          </a:prstGeom>
          <a:solidFill>
            <a:srgbClr val="045E64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85424C9C-2350-F123-1CEE-1EB9CB8E5F6D}"/>
              </a:ext>
            </a:extLst>
          </p:cNvPr>
          <p:cNvSpPr txBox="1"/>
          <p:nvPr/>
        </p:nvSpPr>
        <p:spPr bwMode="gray">
          <a:xfrm>
            <a:off x="10708672" y="5951400"/>
            <a:ext cx="1229332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ligned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covers Scope 1-3)</a:t>
            </a:r>
          </a:p>
        </p:txBody>
      </p:sp>
      <p:sp>
        <p:nvSpPr>
          <p:cNvPr id="83" name="Text Placeholder">
            <a:extLst>
              <a:ext uri="{FF2B5EF4-FFF2-40B4-BE49-F238E27FC236}">
                <a16:creationId xmlns:a16="http://schemas.microsoft.com/office/drawing/2014/main" id="{B55F9265-BFA2-6D8B-2A63-73EA9C44AD98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330200" y="4854575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3334EB7C-122B-4D1D-8AFE-A28CF738CA6C}" type="datetime'''''''Al''''ignme''n''''''''''t'''' ''''''l''''evel''''''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Alignment level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F583C741-DFBA-EF34-1A35-A9ACF9E24479}"/>
              </a:ext>
            </a:extLst>
          </p:cNvPr>
          <p:cNvSpPr/>
          <p:nvPr/>
        </p:nvSpPr>
        <p:spPr bwMode="gray">
          <a:xfrm>
            <a:off x="2998714" y="6078534"/>
            <a:ext cx="194734" cy="126212"/>
          </a:xfrm>
          <a:prstGeom prst="rect">
            <a:avLst/>
          </a:prstGeom>
          <a:pattFill prst="wdUpDiag">
            <a:fgClr>
              <a:srgbClr val="858585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7A0E57-BA36-90A5-B215-D9454301B366}"/>
              </a:ext>
            </a:extLst>
          </p:cNvPr>
          <p:cNvSpPr txBox="1"/>
          <p:nvPr/>
        </p:nvSpPr>
        <p:spPr bwMode="gray">
          <a:xfrm>
            <a:off x="3228501" y="5951400"/>
            <a:ext cx="924254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pturing Data </a:t>
            </a:r>
            <a:b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Scope 1&amp;2)</a:t>
            </a:r>
          </a:p>
        </p:txBody>
      </p:sp>
      <p:sp>
        <p:nvSpPr>
          <p:cNvPr id="137" name="Rectangle 136">
            <a:extLst>
              <a:ext uri="{FF2B5EF4-FFF2-40B4-BE49-F238E27FC236}">
                <a16:creationId xmlns:a16="http://schemas.microsoft.com/office/drawing/2014/main" id="{9383030B-0B0F-7141-E470-4B0BD2F099CA}"/>
              </a:ext>
            </a:extLst>
          </p:cNvPr>
          <p:cNvSpPr/>
          <p:nvPr/>
        </p:nvSpPr>
        <p:spPr bwMode="gray">
          <a:xfrm>
            <a:off x="5563137" y="6078534"/>
            <a:ext cx="194734" cy="126212"/>
          </a:xfrm>
          <a:prstGeom prst="rect">
            <a:avLst/>
          </a:prstGeom>
          <a:pattFill prst="wdUpDiag">
            <a:fgClr>
              <a:srgbClr val="83AC9A"/>
            </a:fgClr>
            <a:bgClr>
              <a:schemeClr val="bg1"/>
            </a:bgClr>
          </a:patt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:a16="http://schemas.microsoft.com/office/drawing/2014/main" id="{724E6CA1-3FBD-7424-51A7-DC5C2CBB4987}"/>
              </a:ext>
            </a:extLst>
          </p:cNvPr>
          <p:cNvSpPr txBox="1"/>
          <p:nvPr/>
        </p:nvSpPr>
        <p:spPr bwMode="gray">
          <a:xfrm>
            <a:off x="5793364" y="5951400"/>
            <a:ext cx="1525883" cy="38048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paring to Decarbonise (Scope 1&amp;2)</a:t>
            </a:r>
          </a:p>
        </p:txBody>
      </p:sp>
      <p:sp>
        <p:nvSpPr>
          <p:cNvPr id="72" name="Text Placeholder">
            <a:extLst>
              <a:ext uri="{FF2B5EF4-FFF2-40B4-BE49-F238E27FC236}">
                <a16:creationId xmlns:a16="http://schemas.microsoft.com/office/drawing/2014/main" id="{C8D81A62-65E3-E3D3-A52F-A11C0BB28D1C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884713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610227-AC77-4FA4-BDB0-BFD5EF0997AC}" type="datetime'F''u''''''n''''d'''''''''''''''''''''''''''' V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6" name="Text Placeholder">
            <a:extLst>
              <a:ext uri="{FF2B5EF4-FFF2-40B4-BE49-F238E27FC236}">
                <a16:creationId xmlns:a16="http://schemas.microsoft.com/office/drawing/2014/main" id="{E2C028F9-3D88-868B-6702-FDAAE8897A1C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10352088" y="4579938"/>
            <a:ext cx="1504950" cy="2746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60325" rIns="0" bIns="31750" rtlCol="0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EA739AE-EBE4-454C-86A4-F89C5BB8A97F}" type="datetime'''''''''F''''''''''u''nd'''''''' ''''''''V''''''''I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Fund VI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5" name="Text Placeholder">
            <a:extLst>
              <a:ext uri="{FF2B5EF4-FFF2-40B4-BE49-F238E27FC236}">
                <a16:creationId xmlns:a16="http://schemas.microsoft.com/office/drawing/2014/main" id="{B7CA695C-C6DF-86BB-7E24-FF0FF2302B63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327150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5BD3030B-F78A-4E0C-BDD0-FBD32ACC3086}" type="datetime'''''''''''''''''5''''0'''''''' ''''''''%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8" name="Text Placeholder">
            <a:extLst>
              <a:ext uri="{FF2B5EF4-FFF2-40B4-BE49-F238E27FC236}">
                <a16:creationId xmlns:a16="http://schemas.microsoft.com/office/drawing/2014/main" id="{24D0F780-82E8-2C47-B22C-70BF0EB904B0}"/>
              </a:ext>
            </a:extLst>
          </p:cNvPr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830513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D5E21D-8BCB-46A8-9A76-7AFDD5F46B02}" type="datetime'''''''''''''2''''''''''''4''''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4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29" name="Text Placeholder">
            <a:extLst>
              <a:ext uri="{FF2B5EF4-FFF2-40B4-BE49-F238E27FC236}">
                <a16:creationId xmlns:a16="http://schemas.microsoft.com/office/drawing/2014/main" id="{D3B27117-212D-E10C-D01C-1D6F5F9AFF69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4335463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7F55F49E-0CD4-421B-9E1F-BFC8947F7B38}" type="datetime'''7''''''''''''''''''5''''''''''''''''''''''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5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6" name="Text Placeholder">
            <a:extLst>
              <a:ext uri="{FF2B5EF4-FFF2-40B4-BE49-F238E27FC236}">
                <a16:creationId xmlns:a16="http://schemas.microsoft.com/office/drawing/2014/main" id="{80A0A4F8-59D2-8414-05A1-447ECB3752D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5838825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7D9E521-80BC-463B-9F2E-FCA2653EA09D}" type="datetime'''''''''''''''''''''''''''''1''''9 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39" name="Text Placeholder">
            <a:extLst>
              <a:ext uri="{FF2B5EF4-FFF2-40B4-BE49-F238E27FC236}">
                <a16:creationId xmlns:a16="http://schemas.microsoft.com/office/drawing/2014/main" id="{36C35764-9BBC-51E4-C20A-71B5840F8EFD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7343775" y="4854575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9F1AE22-9C35-4C4A-9493-08EFD6B17C43}" type="datetime'''''''''''''''0'''' 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3" name="Text Placeholder">
            <a:extLst>
              <a:ext uri="{FF2B5EF4-FFF2-40B4-BE49-F238E27FC236}">
                <a16:creationId xmlns:a16="http://schemas.microsoft.com/office/drawing/2014/main" id="{74046FEA-A335-BD74-5868-EC3858A0E3A6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884713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23983E0-1FCA-4C84-98C8-588278EBB832}" type="datetime'''''''''''''''''''''''7''''''''6''''''''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7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45" name="Text Placeholder">
            <a:extLst>
              <a:ext uri="{FF2B5EF4-FFF2-40B4-BE49-F238E27FC236}">
                <a16:creationId xmlns:a16="http://schemas.microsoft.com/office/drawing/2014/main" id="{1014B92B-004E-C9D3-0EBD-E2D14A82A566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10352088" y="4854575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955C918-D13D-4138-982D-D99131C835F6}" type="datetime'5''''''''''''''''''5'''''''' ''%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55 %</a:t>
            </a:fld>
            <a:endParaRPr lang="en-GB" sz="1200" dirty="0">
              <a:solidFill>
                <a:srgbClr val="000000"/>
              </a:solidFill>
            </a:endParaRPr>
          </a:p>
        </p:txBody>
      </p:sp>
      <p:cxnSp>
        <p:nvCxnSpPr>
          <p:cNvPr id="252" name="Straight Connector 251">
            <a:extLst>
              <a:ext uri="{FF2B5EF4-FFF2-40B4-BE49-F238E27FC236}">
                <a16:creationId xmlns:a16="http://schemas.microsoft.com/office/drawing/2014/main" id="{B53304B8-D0D7-00E4-E4AD-25DABDA07575}"/>
              </a:ext>
            </a:extLst>
          </p:cNvPr>
          <p:cNvCxnSpPr>
            <a:cxnSpLocks/>
          </p:cNvCxnSpPr>
          <p:nvPr/>
        </p:nvCxnSpPr>
        <p:spPr bwMode="gray">
          <a:xfrm>
            <a:off x="2832707" y="1722251"/>
            <a:ext cx="0" cy="4140000"/>
          </a:xfrm>
          <a:prstGeom prst="line">
            <a:avLst/>
          </a:prstGeom>
          <a:ln w="9525" cap="flat">
            <a:solidFill>
              <a:schemeClr val="tx1"/>
            </a:solidFill>
            <a:prstDash val="dash"/>
            <a:miter lim="800000"/>
            <a:tailEnd type="non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Rectangle 6">
            <a:extLst>
              <a:ext uri="{FF2B5EF4-FFF2-40B4-BE49-F238E27FC236}">
                <a16:creationId xmlns:a16="http://schemas.microsoft.com/office/drawing/2014/main" id="{DD284D84-7721-A0C1-DFDE-199689F6415D}"/>
              </a:ext>
            </a:extLst>
          </p:cNvPr>
          <p:cNvSpPr/>
          <p:nvPr/>
        </p:nvSpPr>
        <p:spPr bwMode="gray">
          <a:xfrm rot="20783833">
            <a:off x="1652192" y="3033346"/>
            <a:ext cx="9709941" cy="230463"/>
          </a:xfrm>
          <a:prstGeom prst="rect">
            <a:avLst/>
          </a:prstGeom>
          <a:solidFill>
            <a:schemeClr val="accent2">
              <a:alpha val="60000"/>
            </a:schemeClr>
          </a:solidFill>
          <a:ln w="9525">
            <a:solidFill>
              <a:schemeClr val="tx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sz="1200" b="1" dirty="0">
                <a:solidFill>
                  <a:srgbClr val="000000"/>
                </a:solidFill>
              </a:rPr>
              <a:t>Illustrative data only. Please replace with figures from PMDR Support Tool (‘Data_Microsite’ tab)</a:t>
            </a:r>
          </a:p>
        </p:txBody>
      </p:sp>
      <p:sp>
        <p:nvSpPr>
          <p:cNvPr id="322" name="btfpBulletedList799572">
            <a:extLst>
              <a:ext uri="{FF2B5EF4-FFF2-40B4-BE49-F238E27FC236}">
                <a16:creationId xmlns:a16="http://schemas.microsoft.com/office/drawing/2014/main" id="{C93173D2-C82F-F2C2-D24E-2FADC27B9E48}"/>
              </a:ext>
            </a:extLst>
          </p:cNvPr>
          <p:cNvSpPr/>
          <p:nvPr/>
        </p:nvSpPr>
        <p:spPr bwMode="gray">
          <a:xfrm>
            <a:off x="8954100" y="0"/>
            <a:ext cx="3237900" cy="131621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tx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>
              <a:spcBef>
                <a:spcPts val="600"/>
              </a:spcBef>
              <a:buNone/>
            </a:pPr>
            <a:r>
              <a:rPr lang="en-GB" sz="1200" b="1" dirty="0">
                <a:solidFill>
                  <a:srgbClr val="000000"/>
                </a:solidFill>
              </a:rPr>
              <a:t>Manual update elements: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chart header to reflect year displayed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Remove relative-/ absolute view callout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djust footnote</a:t>
            </a:r>
          </a:p>
          <a:p>
            <a:pPr>
              <a:spcBef>
                <a:spcPts val="600"/>
              </a:spcBef>
            </a:pPr>
            <a:r>
              <a:rPr lang="en-GB" sz="1200" dirty="0">
                <a:solidFill>
                  <a:srgbClr val="000000"/>
                </a:solidFill>
              </a:rPr>
              <a:t>Amend slide title (optional)</a:t>
            </a:r>
          </a:p>
        </p:txBody>
      </p:sp>
      <p:grpSp>
        <p:nvGrpSpPr>
          <p:cNvPr id="325" name="btfpRunningAgenda1Level573689">
            <a:extLst>
              <a:ext uri="{FF2B5EF4-FFF2-40B4-BE49-F238E27FC236}">
                <a16:creationId xmlns:a16="http://schemas.microsoft.com/office/drawing/2014/main" id="{554CCAB4-BB26-0D9E-1827-1D08C8460065}"/>
              </a:ext>
            </a:extLst>
          </p:cNvPr>
          <p:cNvGrpSpPr/>
          <p:nvPr>
            <p:custDataLst>
              <p:tags r:id="rId44"/>
            </p:custDataLst>
          </p:nvPr>
        </p:nvGrpSpPr>
        <p:grpSpPr>
          <a:xfrm>
            <a:off x="0" y="944429"/>
            <a:ext cx="1710625" cy="257442"/>
            <a:chOff x="0" y="876300"/>
            <a:chExt cx="1710625" cy="257442"/>
          </a:xfrm>
        </p:grpSpPr>
        <p:sp>
          <p:nvSpPr>
            <p:cNvPr id="326" name="btfpRunningAgenda1LevelBarLeft573689">
              <a:extLst>
                <a:ext uri="{FF2B5EF4-FFF2-40B4-BE49-F238E27FC236}">
                  <a16:creationId xmlns:a16="http://schemas.microsoft.com/office/drawing/2014/main" id="{BD534018-0F16-DC95-76FA-FD83529AB3A2}"/>
                </a:ext>
              </a:extLst>
            </p:cNvPr>
            <p:cNvSpPr/>
            <p:nvPr/>
          </p:nvSpPr>
          <p:spPr bwMode="gray">
            <a:xfrm>
              <a:off x="0" y="876300"/>
              <a:ext cx="1710625" cy="257442"/>
            </a:xfrm>
            <a:custGeom>
              <a:avLst/>
              <a:gdLst>
                <a:gd name="connsiteX0" fmla="*/ 950801 w 1870925"/>
                <a:gd name="connsiteY0" fmla="*/ 0 h 257442"/>
                <a:gd name="connsiteX1" fmla="*/ 1870925 w 1870925"/>
                <a:gd name="connsiteY1" fmla="*/ 0 h 257442"/>
                <a:gd name="connsiteX2" fmla="*/ 1816204 w 1870925"/>
                <a:gd name="connsiteY2" fmla="*/ 257442 h 257442"/>
                <a:gd name="connsiteX3" fmla="*/ 0 w 1870925"/>
                <a:gd name="connsiteY3" fmla="*/ 257442 h 257442"/>
                <a:gd name="connsiteX0" fmla="*/ 950801 w 1816204"/>
                <a:gd name="connsiteY0" fmla="*/ 0 h 257442"/>
                <a:gd name="connsiteX1" fmla="*/ 896081 w 1816204"/>
                <a:gd name="connsiteY1" fmla="*/ 257442 h 257442"/>
                <a:gd name="connsiteX2" fmla="*/ 1816204 w 1816204"/>
                <a:gd name="connsiteY2" fmla="*/ 257442 h 257442"/>
                <a:gd name="connsiteX3" fmla="*/ 0 w 1816204"/>
                <a:gd name="connsiteY3" fmla="*/ 257442 h 257442"/>
                <a:gd name="connsiteX0" fmla="*/ 950801 w 950801"/>
                <a:gd name="connsiteY0" fmla="*/ 0 h 257442"/>
                <a:gd name="connsiteX1" fmla="*/ 896081 w 950801"/>
                <a:gd name="connsiteY1" fmla="*/ 257442 h 257442"/>
                <a:gd name="connsiteX2" fmla="*/ 1 w 950801"/>
                <a:gd name="connsiteY2" fmla="*/ 257442 h 257442"/>
                <a:gd name="connsiteX3" fmla="*/ 0 w 950801"/>
                <a:gd name="connsiteY3" fmla="*/ 257442 h 257442"/>
                <a:gd name="connsiteX0" fmla="*/ 950800 w 950800"/>
                <a:gd name="connsiteY0" fmla="*/ 0 h 257442"/>
                <a:gd name="connsiteX1" fmla="*/ 896080 w 950800"/>
                <a:gd name="connsiteY1" fmla="*/ 257442 h 257442"/>
                <a:gd name="connsiteX2" fmla="*/ 0 w 950800"/>
                <a:gd name="connsiteY2" fmla="*/ 257442 h 257442"/>
                <a:gd name="connsiteX3" fmla="*/ 1 w 950800"/>
                <a:gd name="connsiteY3" fmla="*/ 0 h 257442"/>
                <a:gd name="connsiteX0" fmla="*/ 1111101 w 1111101"/>
                <a:gd name="connsiteY0" fmla="*/ 0 h 257442"/>
                <a:gd name="connsiteX1" fmla="*/ 8960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1 w 1111101"/>
                <a:gd name="connsiteY3" fmla="*/ 0 h 257442"/>
                <a:gd name="connsiteX0" fmla="*/ 1111101 w 1111101"/>
                <a:gd name="connsiteY0" fmla="*/ 0 h 257442"/>
                <a:gd name="connsiteX1" fmla="*/ 1056380 w 1111101"/>
                <a:gd name="connsiteY1" fmla="*/ 257442 h 257442"/>
                <a:gd name="connsiteX2" fmla="*/ 0 w 1111101"/>
                <a:gd name="connsiteY2" fmla="*/ 257442 h 257442"/>
                <a:gd name="connsiteX3" fmla="*/ 0 w 1111101"/>
                <a:gd name="connsiteY3" fmla="*/ 0 h 257442"/>
                <a:gd name="connsiteX0" fmla="*/ 1431702 w 1431702"/>
                <a:gd name="connsiteY0" fmla="*/ 0 h 257442"/>
                <a:gd name="connsiteX1" fmla="*/ 10563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2 w 1431702"/>
                <a:gd name="connsiteY0" fmla="*/ 0 h 257442"/>
                <a:gd name="connsiteX1" fmla="*/ 1376980 w 1431702"/>
                <a:gd name="connsiteY1" fmla="*/ 257442 h 257442"/>
                <a:gd name="connsiteX2" fmla="*/ 0 w 1431702"/>
                <a:gd name="connsiteY2" fmla="*/ 257442 h 257442"/>
                <a:gd name="connsiteX3" fmla="*/ 0 w 1431702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431703 w 1431703"/>
                <a:gd name="connsiteY0" fmla="*/ 0 h 257442"/>
                <a:gd name="connsiteX1" fmla="*/ 1376981 w 1431703"/>
                <a:gd name="connsiteY1" fmla="*/ 257442 h 257442"/>
                <a:gd name="connsiteX2" fmla="*/ 0 w 1431703"/>
                <a:gd name="connsiteY2" fmla="*/ 257442 h 257442"/>
                <a:gd name="connsiteX3" fmla="*/ 1 w 1431703"/>
                <a:gd name="connsiteY3" fmla="*/ 0 h 257442"/>
                <a:gd name="connsiteX0" fmla="*/ 1673564 w 1673564"/>
                <a:gd name="connsiteY0" fmla="*/ 0 h 257442"/>
                <a:gd name="connsiteX1" fmla="*/ 1376981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1 w 1673564"/>
                <a:gd name="connsiteY3" fmla="*/ 0 h 257442"/>
                <a:gd name="connsiteX0" fmla="*/ 1673564 w 1673564"/>
                <a:gd name="connsiteY0" fmla="*/ 0 h 257442"/>
                <a:gd name="connsiteX1" fmla="*/ 1618842 w 1673564"/>
                <a:gd name="connsiteY1" fmla="*/ 257442 h 257442"/>
                <a:gd name="connsiteX2" fmla="*/ 0 w 1673564"/>
                <a:gd name="connsiteY2" fmla="*/ 257442 h 257442"/>
                <a:gd name="connsiteX3" fmla="*/ 0 w 1673564"/>
                <a:gd name="connsiteY3" fmla="*/ 0 h 257442"/>
                <a:gd name="connsiteX0" fmla="*/ 1833863 w 1833863"/>
                <a:gd name="connsiteY0" fmla="*/ 0 h 257442"/>
                <a:gd name="connsiteX1" fmla="*/ 16188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833863 w 1833863"/>
                <a:gd name="connsiteY0" fmla="*/ 0 h 257442"/>
                <a:gd name="connsiteX1" fmla="*/ 1779142 w 1833863"/>
                <a:gd name="connsiteY1" fmla="*/ 257442 h 257442"/>
                <a:gd name="connsiteX2" fmla="*/ 0 w 1833863"/>
                <a:gd name="connsiteY2" fmla="*/ 257442 h 257442"/>
                <a:gd name="connsiteX3" fmla="*/ 0 w 1833863"/>
                <a:gd name="connsiteY3" fmla="*/ 0 h 257442"/>
                <a:gd name="connsiteX0" fmla="*/ 1994164 w 1994164"/>
                <a:gd name="connsiteY0" fmla="*/ 0 h 257442"/>
                <a:gd name="connsiteX1" fmla="*/ 17791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4 w 1994164"/>
                <a:gd name="connsiteY0" fmla="*/ 0 h 257442"/>
                <a:gd name="connsiteX1" fmla="*/ 1939442 w 1994164"/>
                <a:gd name="connsiteY1" fmla="*/ 257442 h 257442"/>
                <a:gd name="connsiteX2" fmla="*/ 0 w 1994164"/>
                <a:gd name="connsiteY2" fmla="*/ 257442 h 257442"/>
                <a:gd name="connsiteX3" fmla="*/ 0 w 1994164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1994165 w 1994165"/>
                <a:gd name="connsiteY0" fmla="*/ 0 h 257442"/>
                <a:gd name="connsiteX1" fmla="*/ 1939443 w 1994165"/>
                <a:gd name="connsiteY1" fmla="*/ 257442 h 257442"/>
                <a:gd name="connsiteX2" fmla="*/ 0 w 1994165"/>
                <a:gd name="connsiteY2" fmla="*/ 257442 h 257442"/>
                <a:gd name="connsiteX3" fmla="*/ 1 w 1994165"/>
                <a:gd name="connsiteY3" fmla="*/ 0 h 257442"/>
                <a:gd name="connsiteX0" fmla="*/ 976450 w 1939443"/>
                <a:gd name="connsiteY0" fmla="*/ 0 h 257442"/>
                <a:gd name="connsiteX1" fmla="*/ 1939443 w 1939443"/>
                <a:gd name="connsiteY1" fmla="*/ 257442 h 257442"/>
                <a:gd name="connsiteX2" fmla="*/ 0 w 1939443"/>
                <a:gd name="connsiteY2" fmla="*/ 257442 h 257442"/>
                <a:gd name="connsiteX3" fmla="*/ 1 w 1939443"/>
                <a:gd name="connsiteY3" fmla="*/ 0 h 257442"/>
                <a:gd name="connsiteX0" fmla="*/ 976450 w 976450"/>
                <a:gd name="connsiteY0" fmla="*/ 0 h 257442"/>
                <a:gd name="connsiteX1" fmla="*/ 921729 w 976450"/>
                <a:gd name="connsiteY1" fmla="*/ 257442 h 257442"/>
                <a:gd name="connsiteX2" fmla="*/ 0 w 976450"/>
                <a:gd name="connsiteY2" fmla="*/ 257442 h 257442"/>
                <a:gd name="connsiteX3" fmla="*/ 1 w 976450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976449 w 976449"/>
                <a:gd name="connsiteY0" fmla="*/ 0 h 257442"/>
                <a:gd name="connsiteX1" fmla="*/ 921728 w 976449"/>
                <a:gd name="connsiteY1" fmla="*/ 257442 h 257442"/>
                <a:gd name="connsiteX2" fmla="*/ 0 w 976449"/>
                <a:gd name="connsiteY2" fmla="*/ 257442 h 257442"/>
                <a:gd name="connsiteX3" fmla="*/ 0 w 976449"/>
                <a:gd name="connsiteY3" fmla="*/ 0 h 257442"/>
                <a:gd name="connsiteX0" fmla="*/ 1245754 w 1245754"/>
                <a:gd name="connsiteY0" fmla="*/ 0 h 257442"/>
                <a:gd name="connsiteX1" fmla="*/ 921728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4 w 1245754"/>
                <a:gd name="connsiteY0" fmla="*/ 0 h 257442"/>
                <a:gd name="connsiteX1" fmla="*/ 1191032 w 1245754"/>
                <a:gd name="connsiteY1" fmla="*/ 257442 h 257442"/>
                <a:gd name="connsiteX2" fmla="*/ 0 w 1245754"/>
                <a:gd name="connsiteY2" fmla="*/ 257442 h 257442"/>
                <a:gd name="connsiteX3" fmla="*/ 0 w 1245754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245755 w 1245755"/>
                <a:gd name="connsiteY0" fmla="*/ 0 h 257442"/>
                <a:gd name="connsiteX1" fmla="*/ 1191033 w 1245755"/>
                <a:gd name="connsiteY1" fmla="*/ 257442 h 257442"/>
                <a:gd name="connsiteX2" fmla="*/ 0 w 1245755"/>
                <a:gd name="connsiteY2" fmla="*/ 257442 h 257442"/>
                <a:gd name="connsiteX3" fmla="*/ 1 w 1245755"/>
                <a:gd name="connsiteY3" fmla="*/ 0 h 257442"/>
                <a:gd name="connsiteX0" fmla="*/ 1507044 w 1507044"/>
                <a:gd name="connsiteY0" fmla="*/ 0 h 257442"/>
                <a:gd name="connsiteX1" fmla="*/ 1191033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1 w 1507044"/>
                <a:gd name="connsiteY3" fmla="*/ 0 h 257442"/>
                <a:gd name="connsiteX0" fmla="*/ 1507044 w 1507044"/>
                <a:gd name="connsiteY0" fmla="*/ 0 h 257442"/>
                <a:gd name="connsiteX1" fmla="*/ 1452322 w 1507044"/>
                <a:gd name="connsiteY1" fmla="*/ 257442 h 257442"/>
                <a:gd name="connsiteX2" fmla="*/ 0 w 1507044"/>
                <a:gd name="connsiteY2" fmla="*/ 257442 h 257442"/>
                <a:gd name="connsiteX3" fmla="*/ 0 w 1507044"/>
                <a:gd name="connsiteY3" fmla="*/ 0 h 257442"/>
                <a:gd name="connsiteX0" fmla="*/ 1710625 w 1710625"/>
                <a:gd name="connsiteY0" fmla="*/ 0 h 257442"/>
                <a:gd name="connsiteX1" fmla="*/ 1452322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  <a:gd name="connsiteX0" fmla="*/ 1710625 w 1710625"/>
                <a:gd name="connsiteY0" fmla="*/ 0 h 257442"/>
                <a:gd name="connsiteX1" fmla="*/ 1655904 w 1710625"/>
                <a:gd name="connsiteY1" fmla="*/ 257442 h 257442"/>
                <a:gd name="connsiteX2" fmla="*/ 0 w 1710625"/>
                <a:gd name="connsiteY2" fmla="*/ 257442 h 257442"/>
                <a:gd name="connsiteX3" fmla="*/ 0 w 1710625"/>
                <a:gd name="connsiteY3" fmla="*/ 0 h 2574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0625" h="257442">
                  <a:moveTo>
                    <a:pt x="1710625" y="0"/>
                  </a:moveTo>
                  <a:lnTo>
                    <a:pt x="1655904" y="257442"/>
                  </a:lnTo>
                  <a:lnTo>
                    <a:pt x="0" y="2574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C5C5C"/>
            </a:solidFill>
            <a:ln w="9525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buNone/>
              </a:pPr>
              <a:endParaRPr lang="en-GB" sz="1600" dirty="0">
                <a:solidFill>
                  <a:schemeClr val="tx1"/>
                </a:solidFill>
              </a:endParaRPr>
            </a:p>
          </p:txBody>
        </p:sp>
        <p:sp>
          <p:nvSpPr>
            <p:cNvPr id="327" name="btfpRunningAgenda1LevelTextLeft573689">
              <a:extLst>
                <a:ext uri="{FF2B5EF4-FFF2-40B4-BE49-F238E27FC236}">
                  <a16:creationId xmlns:a16="http://schemas.microsoft.com/office/drawing/2014/main" id="{998A6783-7D77-E180-1BCB-05CFE6762887}"/>
                </a:ext>
              </a:extLst>
            </p:cNvPr>
            <p:cNvSpPr txBox="1"/>
            <p:nvPr/>
          </p:nvSpPr>
          <p:spPr bwMode="gray">
            <a:xfrm>
              <a:off x="0" y="876300"/>
              <a:ext cx="1655904" cy="257442"/>
            </a:xfrm>
            <a:prstGeom prst="rect">
              <a:avLst/>
            </a:prstGeom>
            <a:noFill/>
          </p:spPr>
          <p:txBody>
            <a:bodyPr vert="horz" wrap="none" lIns="360363" tIns="36036" rIns="360363" bIns="36036" rtlCol="0" anchor="t">
              <a:spAutoFit/>
            </a:bodyPr>
            <a:lstStyle/>
            <a:p>
              <a:pPr marL="0" indent="0">
                <a:spcBef>
                  <a:spcPts val="0"/>
                </a:spcBef>
                <a:buNone/>
              </a:pPr>
              <a:r>
                <a:rPr lang="en-GB" sz="1200" b="1" cap="all" spc="450" dirty="0">
                  <a:solidFill>
                    <a:srgbClr val="FFFFFF"/>
                  </a:solidFill>
                </a:rPr>
                <a:t>%-view</a:t>
              </a:r>
            </a:p>
          </p:txBody>
        </p:sp>
      </p:grpSp>
      <p:sp>
        <p:nvSpPr>
          <p:cNvPr id="328" name="Oval 327">
            <a:extLst>
              <a:ext uri="{FF2B5EF4-FFF2-40B4-BE49-F238E27FC236}">
                <a16:creationId xmlns:a16="http://schemas.microsoft.com/office/drawing/2014/main" id="{84C887AF-B36A-ACC2-13F1-2F53E5830BDC}"/>
              </a:ext>
            </a:extLst>
          </p:cNvPr>
          <p:cNvSpPr/>
          <p:nvPr/>
        </p:nvSpPr>
        <p:spPr bwMode="gray">
          <a:xfrm>
            <a:off x="0" y="2757"/>
            <a:ext cx="432000" cy="43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rgbClr val="990000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None/>
            </a:pPr>
            <a:r>
              <a:rPr lang="en-GB" b="1" dirty="0">
                <a:solidFill>
                  <a:srgbClr val="C00000"/>
                </a:solidFill>
              </a:rPr>
              <a:t>4</a:t>
            </a:r>
          </a:p>
        </p:txBody>
      </p:sp>
      <p:sp>
        <p:nvSpPr>
          <p:cNvPr id="30" name="Text Placeholder">
            <a:extLst>
              <a:ext uri="{FF2B5EF4-FFF2-40B4-BE49-F238E27FC236}">
                <a16:creationId xmlns:a16="http://schemas.microsoft.com/office/drawing/2014/main" id="{43F8B5BB-7CBF-51F7-3CA5-E235C275D89A}"/>
              </a:ext>
            </a:extLst>
          </p:cNvPr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330200" y="5219700"/>
            <a:ext cx="250031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704064D7-B1B8-49EA-AD42-C9F782BA4922}" type="datetime'''''''#'''' ''''of'''''' ''P''''''''''o''r''t''''C''''o''s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# of PortCos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2" name="Text Placeholder">
            <a:extLst>
              <a:ext uri="{FF2B5EF4-FFF2-40B4-BE49-F238E27FC236}">
                <a16:creationId xmlns:a16="http://schemas.microsoft.com/office/drawing/2014/main" id="{3BEBCAFE-88FA-99E9-BF64-C6D0BE101137}"/>
              </a:ext>
            </a:extLst>
          </p:cNvPr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1327150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30163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568D439-081F-4A1D-9EC7-5707CCB295E7}" type="datetime'''''''''''''1''0''''''''''''''''''''''0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3" name="Text Placeholder">
            <a:extLst>
              <a:ext uri="{FF2B5EF4-FFF2-40B4-BE49-F238E27FC236}">
                <a16:creationId xmlns:a16="http://schemas.microsoft.com/office/drawing/2014/main" id="{0F04A4EA-3D34-6CD4-6E2C-077FBF9CAE87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830513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981D08E0-30F6-46B5-B49D-BCA6C653974D}" type="datetime'''''''''''''''''''''''''''''''''''''''''26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4" name="Text Placeholder">
            <a:extLst>
              <a:ext uri="{FF2B5EF4-FFF2-40B4-BE49-F238E27FC236}">
                <a16:creationId xmlns:a16="http://schemas.microsoft.com/office/drawing/2014/main" id="{E9522832-71CD-9F9F-140A-98285BE75AE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4335463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AFA7D8C-1828-4863-99F7-FD1BF67C2C80}" type="datetime'''''''''''''''''''''''1''''''''''''''''''''''''4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5" name="Text Placeholder">
            <a:extLst>
              <a:ext uri="{FF2B5EF4-FFF2-40B4-BE49-F238E27FC236}">
                <a16:creationId xmlns:a16="http://schemas.microsoft.com/office/drawing/2014/main" id="{7757A509-3042-73BF-F5B7-FE3D3E83CFF8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5838825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A129DB5A-B622-44D9-AB21-48588393F163}" type="datetime'''''''1''''''''''''''''''''''''6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6" name="Text Placeholder">
            <a:extLst>
              <a:ext uri="{FF2B5EF4-FFF2-40B4-BE49-F238E27FC236}">
                <a16:creationId xmlns:a16="http://schemas.microsoft.com/office/drawing/2014/main" id="{3B3759F6-C398-46F2-E4E6-0209CFA09E9C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7343775" y="5219700"/>
            <a:ext cx="1503363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8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F22EE96E-1CCF-45A6-8A25-51151F379489}" type="datetime'''''1''''''''''''''''''8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8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37" name="Text Placeholder">
            <a:extLst>
              <a:ext uri="{FF2B5EF4-FFF2-40B4-BE49-F238E27FC236}">
                <a16:creationId xmlns:a16="http://schemas.microsoft.com/office/drawing/2014/main" id="{C4057B45-D1F8-D411-14D2-9F7782B80F19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884713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0129477D-7341-4F5C-B3D9-AE6912EF3450}" type="datetime'''''''''''''''''1''4''''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4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47" name="Text Placeholder">
            <a:extLst>
              <a:ext uri="{FF2B5EF4-FFF2-40B4-BE49-F238E27FC236}">
                <a16:creationId xmlns:a16="http://schemas.microsoft.com/office/drawing/2014/main" id="{A4CD4879-394C-E6E2-0477-812023C89052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10352088" y="5219700"/>
            <a:ext cx="1504950" cy="365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0488" rIns="0" bIns="9207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C3B4FAFD-7DA2-4D6A-B87D-D652072F1317}" type="datetime'''''''1''''''''''''''2''''''''''''''''''''''''''''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2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62" name="Text Placeholder">
            <a:extLst>
              <a:ext uri="{FF2B5EF4-FFF2-40B4-BE49-F238E27FC236}">
                <a16:creationId xmlns:a16="http://schemas.microsoft.com/office/drawing/2014/main" id="{7602C786-365A-D8EA-43FD-FDAA2817FB74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330200" y="5584825"/>
            <a:ext cx="250031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>
              <a:spcBef>
                <a:spcPct val="0"/>
              </a:spcBef>
              <a:spcAft>
                <a:spcPct val="0"/>
              </a:spcAft>
              <a:buNone/>
            </a:pPr>
            <a:fld id="{BF6CA49E-AD05-41B1-83B4-BF65F4443012}" type="datetime'Inve''''ste''d'' ''capi''t''a''l'''' ''''(%'''''''''')'''''">
              <a:rPr lang="en-GB" altLang="en-US" sz="1200" smtClean="0">
                <a:solidFill>
                  <a:srgbClr val="000000"/>
                </a:solidFill>
              </a:rPr>
              <a:pPr marL="0" lvl="3" indent="0">
                <a:spcBef>
                  <a:spcPct val="0"/>
                </a:spcBef>
                <a:spcAft>
                  <a:spcPct val="0"/>
                </a:spcAft>
                <a:buNone/>
              </a:pPr>
              <a:t>Invested capital (%)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1" name="Text Placeholder">
            <a:extLst>
              <a:ext uri="{FF2B5EF4-FFF2-40B4-BE49-F238E27FC236}">
                <a16:creationId xmlns:a16="http://schemas.microsoft.com/office/drawing/2014/main" id="{5621C8F7-420D-B5C0-5A52-ED21BEA2B99D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1327150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30163" rIns="0" bIns="0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4388EE7F-04A7-48E4-9CF7-471F1F9C9DBB}" type="datetime'1''''''''''''''0''''''''''''''''0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0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78" name="Text Placeholder">
            <a:extLst>
              <a:ext uri="{FF2B5EF4-FFF2-40B4-BE49-F238E27FC236}">
                <a16:creationId xmlns:a16="http://schemas.microsoft.com/office/drawing/2014/main" id="{3CDBF465-68E2-F928-32DF-1B8F52BBEB1B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2830513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13B5EEEA-67C1-4F8D-BDFE-F8F699DE5C2B}" type="datetime'''''''''''''''1''''''6'''''''''' ''%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16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1" name="Text Placeholder">
            <a:extLst>
              <a:ext uri="{FF2B5EF4-FFF2-40B4-BE49-F238E27FC236}">
                <a16:creationId xmlns:a16="http://schemas.microsoft.com/office/drawing/2014/main" id="{64C9A6D9-34A3-0929-7AFB-A63757A7E7D6}"/>
              </a:ext>
            </a:extLst>
          </p:cNvPr>
          <p:cNvSpPr>
            <a:spLocks/>
          </p:cNvSpPr>
          <p:nvPr>
            <p:custDataLst>
              <p:tags r:id="rId56"/>
            </p:custDataLst>
          </p:nvPr>
        </p:nvSpPr>
        <p:spPr bwMode="auto">
          <a:xfrm>
            <a:off x="4335463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E4EF8683-FBD8-4BC9-8ADB-EFA6F69EEFC7}" type="datetime'''''''''''''''''''''''''''''''2''0 %''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2" name="Text Placeholder">
            <a:extLst>
              <a:ext uri="{FF2B5EF4-FFF2-40B4-BE49-F238E27FC236}">
                <a16:creationId xmlns:a16="http://schemas.microsoft.com/office/drawing/2014/main" id="{524ECCC5-47EA-3455-2CB8-9CAEEC6CFA16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5838825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DBFAE7EE-017A-43B3-9520-F0F5521D134E}" type="datetime'''''''''9'' ''''''''''''''''''''''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4" name="Text Placeholder">
            <a:extLst>
              <a:ext uri="{FF2B5EF4-FFF2-40B4-BE49-F238E27FC236}">
                <a16:creationId xmlns:a16="http://schemas.microsoft.com/office/drawing/2014/main" id="{ECEA978D-3565-0662-5EC7-D31FAC1BF4D7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7343775" y="5584825"/>
            <a:ext cx="1503363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8FD7C186-DBEA-4A92-91D3-3004FD5C1659}" type="datetime'''''9'''''''' ''''''''''''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9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5" name="Text Placeholder">
            <a:extLst>
              <a:ext uri="{FF2B5EF4-FFF2-40B4-BE49-F238E27FC236}">
                <a16:creationId xmlns:a16="http://schemas.microsoft.com/office/drawing/2014/main" id="{33B6EFF2-ADF4-133E-09A1-7DC28A226107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84713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BA4BA7AB-1D01-4ED9-91C7-BE4AF6D78B83}" type="datetime'''''''''2''''''''''''''''''''''''''''7'''' ''''%''''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7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87" name="Text Placeholder">
            <a:extLst>
              <a:ext uri="{FF2B5EF4-FFF2-40B4-BE49-F238E27FC236}">
                <a16:creationId xmlns:a16="http://schemas.microsoft.com/office/drawing/2014/main" id="{D3BDA36F-CD91-0D2B-484C-843A9B08F910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0352088" y="5584825"/>
            <a:ext cx="1504950" cy="33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92075" rIns="0" bIns="60325" rtlCol="0" anchor="ctr">
            <a:noAutofit/>
          </a:bodyPr>
          <a:lstStyle>
            <a:lvl1pPr marL="180975" indent="-180975" algn="l" defTabSz="914354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1950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4988" indent="-173038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15963" indent="-180975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898525" indent="-182563" algn="l" defTabSz="914354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&gt;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74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52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29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06" indent="-228589" algn="l" defTabSz="914354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3" indent="0" algn="ctr">
              <a:spcBef>
                <a:spcPct val="0"/>
              </a:spcBef>
              <a:spcAft>
                <a:spcPct val="0"/>
              </a:spcAft>
              <a:buNone/>
            </a:pPr>
            <a:fld id="{2A602F63-3712-4388-ACC8-27E462FA9911}" type="datetime'''''''''''''''''''2''''''''''''''''''''''2'''''''' %'''">
              <a:rPr lang="en-GB" altLang="en-US" sz="1200" smtClean="0">
                <a:solidFill>
                  <a:srgbClr val="000000"/>
                </a:solidFill>
              </a:rPr>
              <a:pPr marL="0" lvl="3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2 %</a:t>
            </a:fld>
            <a:endParaRPr lang="en-GB" sz="1200" dirty="0">
              <a:solidFill>
                <a:srgbClr val="000000"/>
              </a:solidFill>
            </a:endParaRPr>
          </a:p>
        </p:txBody>
      </p:sp>
      <p:sp>
        <p:nvSpPr>
          <p:cNvPr id="10" name="btfpNotesBox623158">
            <a:extLst>
              <a:ext uri="{FF2B5EF4-FFF2-40B4-BE49-F238E27FC236}">
                <a16:creationId xmlns:a16="http://schemas.microsoft.com/office/drawing/2014/main" id="{FFC53643-ACA8-6B51-C08D-DAA46F86639F}"/>
              </a:ext>
            </a:extLst>
          </p:cNvPr>
          <p:cNvSpPr txBox="1"/>
          <p:nvPr>
            <p:custDataLst>
              <p:tags r:id="rId61"/>
            </p:custDataLst>
          </p:nvPr>
        </p:nvSpPr>
        <p:spPr bwMode="gray">
          <a:xfrm>
            <a:off x="330199" y="6319679"/>
            <a:ext cx="11531600" cy="246221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pPr marL="0" marR="0" lvl="0" indent="0" algn="l" defTabSz="711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ote: Alignment level calculated as share of financed emissions categorised as ‘Aligning’ or ‘Aligned’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due to lack of financed emissions data</a:t>
            </a:r>
            <a:r>
              <a:rPr lang="en-GB" sz="800" dirty="0">
                <a:solidFill>
                  <a:srgbClr val="000000"/>
                </a:solidFill>
                <a:latin typeface="Arial"/>
              </a:rPr>
              <a:t>; </a:t>
            </a:r>
            <a:r>
              <a:rPr lang="en-US" sz="800" dirty="0">
                <a:solidFill>
                  <a:srgbClr val="000000"/>
                </a:solidFill>
              </a:rPr>
              <a:t>[Names of PortCos] </a:t>
            </a:r>
            <a:r>
              <a:rPr lang="de-CH" sz="800" dirty="0">
                <a:solidFill>
                  <a:srgbClr val="000000"/>
                </a:solidFill>
              </a:rPr>
              <a:t>not included in invested capital data row due to lack of data; </a:t>
            </a:r>
            <a:r>
              <a:rPr lang="en-US" sz="800" dirty="0">
                <a:solidFill>
                  <a:srgbClr val="000000"/>
                </a:solidFill>
              </a:rPr>
              <a:t>PortCos present in different funds are counted and displayed individually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473603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COLUMNGUIDE" val="Visible"/>
  <p:tag name="OFFICE" val="Zurich"/>
  <p:tag name="MEKKOFORMATS" val="&lt;MekkoFormats&gt;&lt;NumberFormat DecimalSeparator=&quot;,&quot; ThousandSeparator=&quot;.&quot; NegativeNumberFormat=&quot;1&quot; /&gt;&lt;DateFormat CultureID=&quot;2057&quot; FormatString=&quot;dd/MM/yyyy&quot; /&gt;&lt;Font&gt;&lt;Output_Font_Name Default=&quot;Arial&quot; UsePPTTheme=&quot;True&quot; /&gt;&lt;/Font&gt;&lt;/MekkoFormats&gt;"/>
  <p:tag name="THINKCELLPRESENTATIONDONOTDELETE" val="&lt;?xml version=&quot;1.0&quot; encoding=&quot;UTF-16&quot; standalone=&quot;yes&quot;?&gt;&lt;root reqver=&quot;30783&quot;&gt;&lt;version val=&quot;3673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’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7&quot;&gt;&lt;elem m_fUsage=&quot;5.69532790000000055386E+00&quot;&gt;&lt;m_msothmcolidx val=&quot;0&quot;/&gt;&lt;m_rgb r=&quot;F0&quot; g=&quot;F0&quot; b=&quot;F0&quot;/&gt;&lt;/elem&gt;&lt;elem m_fUsage=&quot;1.05535575808311632429E+00&quot;&gt;&lt;m_msothmcolidx val=&quot;6&quot;/&gt;&lt;/elem&gt;&lt;elem m_fUsage=&quot;8.81329869786533048881E-01&quot;&gt;&lt;m_msothmcolidx val=&quot;0&quot;/&gt;&lt;m_rgb r=&quot;82&quot; g=&quot;AE&quot; b=&quot;B1&quot;/&gt;&lt;/elem&gt;&lt;elem m_fUsage=&quot;7.68725406808714373241E-01&quot;&gt;&lt;m_msothmcolidx val=&quot;5&quot;/&gt;&lt;/elem&gt;&lt;elem m_fUsage=&quot;7.36098929100000076708E-01&quot;&gt;&lt;m_msothmcolidx val=&quot;0&quot;/&gt;&lt;m_rgb r=&quot;43&quot; g=&quot;86&quot; b=&quot;8B&quot;/&gt;&lt;/elem&gt;&lt;elem m_fUsage=&quot;4.30467210000000155556E-01&quot;&gt;&lt;m_msothmcolidx val=&quot;0&quot;/&gt;&lt;m_rgb r=&quot;04&quot; g=&quot;5E&quot; b=&quot;64&quot;/&gt;&lt;/elem&gt;&lt;elem m_fUsage=&quot;2.07410930772245927223E-01&quot;&gt;&lt;m_msothmcolidx val=&quot;0&quot;/&gt;&lt;m_rgb r=&quot;E1&quot; g=&quot;E1&quot; b=&quot;E1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IDE2sOgp9hQAEvrfz11Q"/>
</p:tagLst>
</file>

<file path=ppt/tags/tag1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v13fnNkOmFrPmXFV3jXg"/>
</p:tagLst>
</file>

<file path=ppt/tags/tag1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hKafF7Yy2PyeGIl2VAg"/>
</p:tagLst>
</file>

<file path=ppt/tags/tag1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WKTPvxF.eFNcji6PKAxg"/>
</p:tagLst>
</file>

<file path=ppt/tags/tag1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0wFIg_u_RYIcyGi63aag"/>
</p:tagLst>
</file>

<file path=ppt/tags/tag1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Yu91JLXq6Ky3KQUc6PA"/>
</p:tagLst>
</file>

<file path=ppt/tags/tag1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4lYp2zsBihpHCvJJWiag"/>
</p:tagLst>
</file>

<file path=ppt/tags/tag1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kA0FEpzE4cpYqQjf0kXw"/>
</p:tagLst>
</file>

<file path=ppt/tags/tag1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PQniKwc.NJrJXno64okQ"/>
</p:tagLst>
</file>

<file path=ppt/tags/tag1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rMFTBTo0GIsIAQls6JlA"/>
</p:tagLst>
</file>

<file path=ppt/tags/tag1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ju1f.NaAos6OGwujIHw"/>
</p:tagLst>
</file>

<file path=ppt/tags/tag1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uRC_7f_P89rGD3xkwR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cQgamT_3B9yOEkXI2uw"/>
</p:tagLst>
</file>

<file path=ppt/tags/tag1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F4yU6rByu4c_VMcf8UQ"/>
</p:tagLst>
</file>

<file path=ppt/tags/tag1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CCQ_iWyP_tj7YV3Xwsw"/>
</p:tagLst>
</file>

<file path=ppt/tags/tag1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kj1_JukZaQ0ihc350ZQ"/>
</p:tagLst>
</file>

<file path=ppt/tags/tag1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AiN8LiqLBtvq1tjGE8fg"/>
</p:tagLst>
</file>

<file path=ppt/tags/tag1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z1c9Bl6jQBViBIwwujYQ"/>
</p:tagLst>
</file>

<file path=ppt/tags/tag1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EDiiqpbBj7xOj1nvMfJQ"/>
</p:tagLst>
</file>

<file path=ppt/tags/tag1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5BZ8UySyTT03jAmbNqhg"/>
</p:tagLst>
</file>

<file path=ppt/tags/tag1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NAAVi53GDd9_EBHOqcXQ"/>
</p:tagLst>
</file>

<file path=ppt/tags/tag1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sOlhS6UIj0oOlSJF6Xg"/>
</p:tagLst>
</file>

<file path=ppt/tags/tag1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8qPWl7TPnmKiHK38LUow"/>
</p:tagLst>
</file>

<file path=ppt/tags/tag1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xgS9Kut0JeTGAW.Oxxg"/>
</p:tagLst>
</file>

<file path=ppt/tags/tag1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Ya.WHl74XaNPusg3VpqQ"/>
</p:tagLst>
</file>

<file path=ppt/tags/tag1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Pf1n_GqFzaK0mCgi8pA"/>
</p:tagLst>
</file>

<file path=ppt/tags/tag1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UE1_RCX2vjGySvMZAwA"/>
</p:tagLst>
</file>

<file path=ppt/tags/tag1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1dImFOwAi8KJxv0SV2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FrIugAd644PWD2HwOB.Q"/>
</p:tagLst>
</file>

<file path=ppt/tags/tag1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h9k.RoZDWnKTlcf3o5Gw"/>
</p:tagLst>
</file>

<file path=ppt/tags/tag1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1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CEQQcKO1w87ofYp8wvw"/>
</p:tagLst>
</file>

<file path=ppt/tags/tag1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W9Adv8KrirS30jTTEdw"/>
</p:tagLst>
</file>

<file path=ppt/tags/tag1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7cgzRa7aHxsaMVnOR0A"/>
</p:tagLst>
</file>

<file path=ppt/tags/tag1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1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1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aj9o_eWo0zEnOzp9v4A"/>
</p:tagLst>
</file>

<file path=ppt/tags/tag1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3nbTxAFXJzc6bQ60_pw"/>
</p:tagLst>
</file>

<file path=ppt/tags/tag1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ec0lEYJEajp_vpcfZb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012SXDC6P2QYhJkbrFg"/>
</p:tagLst>
</file>

<file path=ppt/tags/tag1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1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txRnLz.e4bnwaSc7HPTQ"/>
</p:tagLst>
</file>

<file path=ppt/tags/tag1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4kGs8xAWmeb.KLpkq_ew"/>
</p:tagLst>
</file>

<file path=ppt/tags/tag1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ghdGQLaq70M1wGk7ZnQ"/>
</p:tagLst>
</file>

<file path=ppt/tags/tag1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Obd4vm4LXJSwKM7iLaAg"/>
</p:tagLst>
</file>

<file path=ppt/tags/tag1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ZAmLFBbrb_YyfGG0di1Q"/>
</p:tagLst>
</file>

<file path=ppt/tags/tag1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qQATHsDA9StqJaraeWuQ"/>
</p:tagLst>
</file>

<file path=ppt/tags/tag1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Sabtg7kyCi_aVY8UDHQ"/>
</p:tagLst>
</file>

<file path=ppt/tags/tag1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JcBTCZltUSwlwe.eVqhg"/>
</p:tagLst>
</file>

<file path=ppt/tags/tag1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UrXO4m4XZWzt4PRR6Ur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pBzF17d6hTlNQYleQcUg"/>
</p:tagLst>
</file>

<file path=ppt/tags/tag1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1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YsN1uD1PqNsS6kNt3fg"/>
</p:tagLst>
</file>

<file path=ppt/tags/tag1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IC8GaSGMCXOgQf94qGA"/>
</p:tagLst>
</file>

<file path=ppt/tags/tag1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S6rMvwq8UZhFGOO4bL5Q"/>
</p:tagLst>
</file>

<file path=ppt/tags/tag1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1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iMZZ3QfpeT5BqxhwSg0Q"/>
</p:tagLst>
</file>

<file path=ppt/tags/tag1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YF1Jj2mzW0CvuSbTQNQ"/>
</p:tagLst>
</file>

<file path=ppt/tags/tag1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I0uNCLs6THsAhu9Z33A"/>
</p:tagLst>
</file>

<file path=ppt/tags/tag1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auFrzu.DfW2QylnUEhw"/>
</p:tagLst>
</file>

<file path=ppt/tags/tag1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aCGOVQJ7rvr35m2BW3C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1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lbISSQ1Q9v0MZf.3O9w"/>
</p:tagLst>
</file>

<file path=ppt/tags/tag1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xLjgqEhMkTXlxh8c1WA"/>
</p:tagLst>
</file>

<file path=ppt/tags/tag1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1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DcXdxkWZXwPEGtXz19UA"/>
</p:tagLst>
</file>

<file path=ppt/tags/tag1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yKXMIl3p7vTluhoHYvg"/>
</p:tagLst>
</file>

<file path=ppt/tags/tag1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9z7t8N8tusqrO1GJK7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1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ma.o96AskgAif8T8keA"/>
</p:tagLst>
</file>

<file path=ppt/tags/tag1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1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C4.ClstfgibnCEqertw"/>
</p:tagLst>
</file>

<file path=ppt/tags/tag1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1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1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1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dVaGUJb7tJm7Ts2vJu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TRglGo5oC.TAoOkB.4g"/>
</p:tagLst>
</file>

<file path=ppt/tags/tag1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D9NMaJvXXx.gtT_fTqA"/>
</p:tagLst>
</file>

<file path=ppt/tags/tag1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lva18127kQ0Izfi_fFQ"/>
</p:tagLst>
</file>

<file path=ppt/tags/tag1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o5t1me_j7aabsTY4XeEw"/>
</p:tagLst>
</file>

<file path=ppt/tags/tag1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1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1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eSwAHSMp5OfeWp2O65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Y.5peDmHM9pSCh5nJdw"/>
</p:tagLst>
</file>

<file path=ppt/tags/tag1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M3GSuknhd3ZcCJvlkMg"/>
</p:tagLst>
</file>

<file path=ppt/tags/tag1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6Ii6NiV288i7EvBuhA"/>
</p:tagLst>
</file>

<file path=ppt/tags/tag1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1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gilfBCIBLm5NHOq5gtA"/>
</p:tagLst>
</file>

<file path=ppt/tags/tag1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GHaSY0GOP.iNPsIHUNnA"/>
</p:tagLst>
</file>

<file path=ppt/tags/tag1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5cWyZZbDqWJV7KIyXag"/>
</p:tagLst>
</file>

<file path=ppt/tags/tag1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1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1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1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1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1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1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HNwZsHGtZgBxHXYqAhA"/>
</p:tagLst>
</file>

<file path=ppt/tags/tag1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0FW2SVaEuWUwuM5rj57w"/>
</p:tagLst>
</file>

<file path=ppt/tags/tag1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CCFyd4AuZHYMVbMxQ24g"/>
</p:tagLst>
</file>

<file path=ppt/tags/tag1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5fsAuRE_DMgMFu2FmVVA"/>
</p:tagLst>
</file>

<file path=ppt/tags/tag1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P__2.F_B6Pr755YWwPA"/>
</p:tagLst>
</file>

<file path=ppt/tags/tag1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WlQ9PqcztPZN9ZI5z4lA"/>
</p:tagLst>
</file>

<file path=ppt/tags/tag1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p2.VszCtQmattsspzKw"/>
</p:tagLst>
</file>

<file path=ppt/tags/tag1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0zdECGy1khxHd3LO1rO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JYhYywoiZTusAE1B5YMw"/>
</p:tagLst>
</file>

<file path=ppt/tags/tag1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_A1B_B7utWJwwxn_rkuw"/>
</p:tagLst>
</file>

<file path=ppt/tags/tag1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NHnmrooSs9HLetNHGhmg"/>
</p:tagLst>
</file>

<file path=ppt/tags/tag1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QXyIkBglHWo.dUDOhUA"/>
</p:tagLst>
</file>

<file path=ppt/tags/tag1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NjigaO4A.wVwVxhdwErw"/>
</p:tagLst>
</file>

<file path=ppt/tags/tag1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1xUf7kNtrxO9NJgjdbg"/>
</p:tagLst>
</file>

<file path=ppt/tags/tag1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JiJI_GXBuRwCX8Ay_bA"/>
</p:tagLst>
</file>

<file path=ppt/tags/tag1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0YCztBTqTnb5fbNuakUg"/>
</p:tagLst>
</file>

<file path=ppt/tags/tag1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Lum3.PrLcNjKe0lbhAA"/>
</p:tagLst>
</file>

<file path=ppt/tags/tag1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RGHdClX_6ZW1MmF_E3A"/>
</p:tagLst>
</file>

<file path=ppt/tags/tag1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JC5RLMn6hsDJHBdOu_Q"/>
</p:tagLst>
</file>

<file path=ppt/tags/tag1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H9k43clJAsnK6G4y7mKg"/>
</p:tagLst>
</file>

<file path=ppt/tags/tag1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knuxnj082joeBFQ0TQw"/>
</p:tagLst>
</file>

<file path=ppt/tags/tag1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yZ23.kVqK4FsRVGooJ7A"/>
</p:tagLst>
</file>

<file path=ppt/tags/tag1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BURc_OFeYWiM7jyGCeEg"/>
</p:tagLst>
</file>

<file path=ppt/tags/tag1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I_jDHBGOQuWJNgcwQ_VA"/>
</p:tagLst>
</file>

<file path=ppt/tags/tag1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3CPHVrZNR5MN0uPInZcg"/>
</p:tagLst>
</file>

<file path=ppt/tags/tag1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1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1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1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57bXzr_CtozUgYKT4LQ"/>
</p:tagLst>
</file>

<file path=ppt/tags/tag1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ncqFprsSLu1JrQvaAYg"/>
</p:tagLst>
</file>

<file path=ppt/tags/tag1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XEQCW.6CxH7TmUwB5zw"/>
</p:tagLst>
</file>

<file path=ppt/tags/tag1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44FioQ7A1VLfwup_w3A"/>
</p:tagLst>
</file>

<file path=ppt/tags/tag1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XjFRr9MCeDik_Lw.cFQ"/>
</p:tagLst>
</file>

<file path=ppt/tags/tag1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G7n9ia3_Uhz4HxjcVUhQ"/>
</p:tagLst>
</file>

<file path=ppt/tags/tag1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6adCw5CrYtwhNHmOuQ_A"/>
</p:tagLst>
</file>

<file path=ppt/tags/tag1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7l9n0qogIDfdT7wzCDQ"/>
</p:tagLst>
</file>

<file path=ppt/tags/tag1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6xtAPmtI1M7f0rWo8Stg"/>
</p:tagLst>
</file>

<file path=ppt/tags/tag1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krawx2ivGL5O5WlomfA"/>
</p:tagLst>
</file>

<file path=ppt/tags/tag1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tXJdn6Er.70g8x77o4XQ"/>
</p:tagLst>
</file>

<file path=ppt/tags/tag1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.sg.JilvDWfOar0GsY6g"/>
</p:tagLst>
</file>

<file path=ppt/tags/tag1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Csjit8RVaQTF3xbqCx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6IOuzMR79nbwaoiMhSXA"/>
</p:tagLst>
</file>

<file path=ppt/tags/tag1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jYRkd8tHS4l2zV1FWC1A"/>
</p:tagLst>
</file>

<file path=ppt/tags/tag1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4IXuM7e9.SOBnTe7DA"/>
</p:tagLst>
</file>

<file path=ppt/tags/tag1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8VqSxtevHw9koNZksgw"/>
</p:tagLst>
</file>

<file path=ppt/tags/tag1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EL9o0EoqvGes_pOAo1A"/>
</p:tagLst>
</file>

<file path=ppt/tags/tag1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Ui2DPCIrqb.SxyePMjdw"/>
</p:tagLst>
</file>

<file path=ppt/tags/tag1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j9PjJt8YMeXjRzj_eAJg"/>
</p:tagLst>
</file>

<file path=ppt/tags/tag1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P.FwmSouknEaquaaBL1w"/>
</p:tagLst>
</file>

<file path=ppt/tags/tag1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uLqjoYuxfFt6MAO3OhQA"/>
</p:tagLst>
</file>

<file path=ppt/tags/tag1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DiKFlhrwXoHRfdendU2w"/>
</p:tagLst>
</file>

<file path=ppt/tags/tag1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v6vDTXGvqnYJsD67aVg"/>
</p:tagLst>
</file>

<file path=ppt/tags/tag1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gbvWU5pmzz8b8Eu92.ew"/>
</p:tagLst>
</file>

<file path=ppt/tags/tag1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9H5zr4btXUn1DTRBU5ug"/>
</p:tagLst>
</file>

<file path=ppt/tags/tag1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oP5SHeP9Ytb9CC0W13mA"/>
</p:tagLst>
</file>

<file path=ppt/tags/tag1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TIjBidJ6_1jDcd1AyOmA"/>
</p:tagLst>
</file>

<file path=ppt/tags/tag1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2S_w1Qmm.psaUr1QIkE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G3iXtV.qqXhiTw6TjZdA"/>
</p:tagLst>
</file>

<file path=ppt/tags/tag1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0wS7xqJGI_d1SKPtIwA"/>
</p:tagLst>
</file>

<file path=ppt/tags/tag1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kdz3AVey4wZkKkRRHkg"/>
</p:tagLst>
</file>

<file path=ppt/tags/tag1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Ss2UVjMsGRbRYxVBoxA"/>
</p:tagLst>
</file>

<file path=ppt/tags/tag1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E_faFxNlgBG12rAmWDoQ"/>
</p:tagLst>
</file>

<file path=ppt/tags/tag1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liV4AGQzngC3dsJUKeQ"/>
</p:tagLst>
</file>

<file path=ppt/tags/tag1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HUCEseNfWXQmoebEnj2Q"/>
</p:tagLst>
</file>

<file path=ppt/tags/tag1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afY1fpHb9Pup7ALJvJA"/>
</p:tagLst>
</file>

<file path=ppt/tags/tag1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2zD9Ez9Wy2hBcUWcaGPQ"/>
</p:tagLst>
</file>

<file path=ppt/tags/tag1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dshnGLaaQEXZtSsjWVQ"/>
</p:tagLst>
</file>

<file path=ppt/tags/tag1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d1mirbNDERT37xWdX26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I8.0YjRTivcxVisspaw"/>
</p:tagLst>
</file>

<file path=ppt/tags/tag1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1D64kHG7GeIVOoLg8ThQ"/>
</p:tagLst>
</file>

<file path=ppt/tags/tag1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79E1Gc6EPkKKYVTQNraQ"/>
</p:tagLst>
</file>

<file path=ppt/tags/tag1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OL9CPSjYBGkVsSuoswxg"/>
</p:tagLst>
</file>

<file path=ppt/tags/tag1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eyXaLOEEiAYrIop_zYw"/>
</p:tagLst>
</file>

<file path=ppt/tags/tag1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1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wufP5BNK9_GeOrwRdSdg"/>
</p:tagLst>
</file>

<file path=ppt/tags/tag1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qf05jt5vxrtfK3BJ.ttw"/>
</p:tagLst>
</file>

<file path=ppt/tags/tag1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hk_nXYIxJ1LSI5Y6jIQ"/>
</p:tagLst>
</file>

<file path=ppt/tags/tag1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LQRhkzjl3__u9m.IE5yA"/>
</p:tagLst>
</file>

<file path=ppt/tags/tag1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aDeesp9l3ye5ysO1Jbw"/>
</p:tagLst>
</file>

<file path=ppt/tags/tag1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pZksRWU12XZcwVomqfsw"/>
</p:tagLst>
</file>

<file path=ppt/tags/tag1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Hs3dYRMcLUX7dW_YPu6w"/>
</p:tagLst>
</file>

<file path=ppt/tags/tag1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yFBR9P3wtzREz_k7hew"/>
</p:tagLst>
</file>

<file path=ppt/tags/tag1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GKnPqfjfKlR2y_uUHIw"/>
</p:tagLst>
</file>

<file path=ppt/tags/tag1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2N0oXpeTfWPOEZsPg1bQ"/>
</p:tagLst>
</file>

<file path=ppt/tags/tag1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gK6GATUrg2W.M1Y911bA"/>
</p:tagLst>
</file>

<file path=ppt/tags/tag1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oNEmviuFQYz40ss_S9fg"/>
</p:tagLst>
</file>

<file path=ppt/tags/tag1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QMNilvUhhEGkGlR9dKIQ"/>
</p:tagLst>
</file>

<file path=ppt/tags/tag1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1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1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1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1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1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1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1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qeUAjgLRkyAfM1FFrH3w"/>
</p:tagLst>
</file>

<file path=ppt/tags/tag1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sFykGQuL0yH99rcve.1w"/>
</p:tagLst>
</file>

<file path=ppt/tags/tag1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KRdEXNaDWbl3J48nHA"/>
</p:tagLst>
</file>

<file path=ppt/tags/tag1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dlGRekmu43qQnJ8AykyQ"/>
</p:tagLst>
</file>

<file path=ppt/tags/tag1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.bmNy0CL.oanS_iuz8OQ"/>
</p:tagLst>
</file>

<file path=ppt/tags/tag1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Zv20T5tqKhk8NYA.xXw"/>
</p:tagLst>
</file>

<file path=ppt/tags/tag1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JVL1IsGssgIg7Pse6N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MhedugisCroApjurFVew"/>
</p:tagLst>
</file>

<file path=ppt/tags/tag1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8M.jg9dg6RhJmy9oJC9g"/>
</p:tagLst>
</file>

<file path=ppt/tags/tag1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tUQ_xltOJxo7oPqrnfg"/>
</p:tagLst>
</file>

<file path=ppt/tags/tag1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Six4zAfvmAMnGxDeN.XA"/>
</p:tagLst>
</file>

<file path=ppt/tags/tag1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6WMN49uxYIwphETJdgZw"/>
</p:tagLst>
</file>

<file path=ppt/tags/tag1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VFZ2Q3Fq2JQpIyv.L2w"/>
</p:tagLst>
</file>

<file path=ppt/tags/tag1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IdrCH4zWiquYs77fyIdg"/>
</p:tagLst>
</file>

<file path=ppt/tags/tag1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MitUAgXQ9N3QyLGdIHw"/>
</p:tagLst>
</file>

<file path=ppt/tags/tag1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.TRgEOvf40xjycksSqAA"/>
</p:tagLst>
</file>

<file path=ppt/tags/tag1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hLxT4xwBOg0VDt9tVnkw"/>
</p:tagLst>
</file>

<file path=ppt/tags/tag1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xE7Yx4yqPechBQcfeoT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4hQBtHSDgU_HH74c.LA"/>
</p:tagLst>
</file>

<file path=ppt/tags/tag1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E94eJSOc3OcDCMB_znQw"/>
</p:tagLst>
</file>

<file path=ppt/tags/tag1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psFWKGZSHS0zqZ.hA.Bg"/>
</p:tagLst>
</file>

<file path=ppt/tags/tag1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0wbudmpZ3Q7MsRDQ2Fw"/>
</p:tagLst>
</file>

<file path=ppt/tags/tag1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n_9.h1i6tAH8PPfI0Q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ibZIva7EmkAI3Y1SX2LQ"/>
</p:tagLst>
</file>

<file path=ppt/tags/tag1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xXZdfzIVaBQ5edtLTXIQ"/>
</p:tagLst>
</file>

<file path=ppt/tags/tag1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1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sxVhcpTR1rYEWQ0RpIug"/>
</p:tagLst>
</file>

<file path=ppt/tags/tag1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8dA3DbeD6246jZXhyLQ"/>
</p:tagLst>
</file>

<file path=ppt/tags/tag1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IlRBTA9.dU.815Urmt.Q"/>
</p:tagLst>
</file>

<file path=ppt/tags/tag1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1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1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1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4FmdlWpELzE3Bf5mwBg"/>
</p:tagLst>
</file>

<file path=ppt/tags/tag1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1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1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Z9OCi9BeRS1CAW2SANqg"/>
</p:tagLst>
</file>

<file path=ppt/tags/tag1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ITjrW.1ejdPZ8jLu_3Qw"/>
</p:tagLst>
</file>

<file path=ppt/tags/tag1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He.0sv.UA..oj0CfoDQ"/>
</p:tagLst>
</file>

<file path=ppt/tags/tag1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0tZHX0cDZ_YsCMuyX0U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9kJY44CEf7xttxZZDzg"/>
</p:tagLst>
</file>

<file path=ppt/tags/tag1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ZNpW7a8jtdiNspquJQ_Q"/>
</p:tagLst>
</file>

<file path=ppt/tags/tag1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MlWvP3pr7.SP.jPu9Fg"/>
</p:tagLst>
</file>

<file path=ppt/tags/tag1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AVXI1txT3oCeeqVL0Ng"/>
</p:tagLst>
</file>

<file path=ppt/tags/tag1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eNNIJmgWOxkvoE5ok_g"/>
</p:tagLst>
</file>

<file path=ppt/tags/tag1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87n71eSNPHHdqWPCsdQ"/>
</p:tagLst>
</file>

<file path=ppt/tags/tag1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.6A03ixC0yK95oVo390A"/>
</p:tagLst>
</file>

<file path=ppt/tags/tag1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yguuPmcSLsHk9QSJtyg"/>
</p:tagLst>
</file>

<file path=ppt/tags/tag1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RfECwqH9WBXgyy1VdZg"/>
</p:tagLst>
</file>

<file path=ppt/tags/tag1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VWgTkjMbVujD2QecUI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ID4aU8t4n2codZf2oBUg"/>
</p:tagLst>
</file>

<file path=ppt/tags/tag1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AaPcg2YC_SqU_U443Hw"/>
</p:tagLst>
</file>

<file path=ppt/tags/tag1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TCTJ2fc0M2BzIyU2hig"/>
</p:tagLst>
</file>

<file path=ppt/tags/tag1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dHIp.7gTN4S2BXawK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HlDCemZ8TuEmYaWeb63Q"/>
</p:tagLst>
</file>

<file path=ppt/tags/tag1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1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T0GeMDOu_rMcsim.6SpQ"/>
</p:tagLst>
</file>

<file path=ppt/tags/tag1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cWzr90.G.rIIfXg2TJQ"/>
</p:tagLst>
</file>

<file path=ppt/tags/tag1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LJIxjlOxxml3namjwGQg"/>
</p:tagLst>
</file>

<file path=ppt/tags/tag1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oiJb87S_idNv1hUZUxtA"/>
</p:tagLst>
</file>

<file path=ppt/tags/tag1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1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ZqUi9rXL.ysD9JxhhYjw"/>
</p:tagLst>
</file>

<file path=ppt/tags/tag1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0AP_Ju3pPckrrE56Typw"/>
</p:tagLst>
</file>

<file path=ppt/tags/tag1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LcTc11HfZR3XbuLMX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rlDMg2UlYOfZ98_592BQ"/>
</p:tagLst>
</file>

<file path=ppt/tags/tag1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8MYT.NiwGB3CcO4bkrg"/>
</p:tagLst>
</file>

<file path=ppt/tags/tag1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BI9SuSBq3.FsfoXnKH0Q"/>
</p:tagLst>
</file>

<file path=ppt/tags/tag1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S.Er6mnYd3vpMM25jLQ"/>
</p:tagLst>
</file>

<file path=ppt/tags/tag1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xV.BGDK1TGInnaUTeUoA"/>
</p:tagLst>
</file>

<file path=ppt/tags/tag1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1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1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1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hDBl5xywV9UmmtNL51g"/>
</p:tagLst>
</file>

<file path=ppt/tags/tag1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GRWaMA4SvOcBHAm4WbA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KWFZFpqG9AkHb_oPgZw"/>
</p:tagLst>
</file>

<file path=ppt/tags/tag1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_WdDteZTF3KJdpMrQvQ"/>
</p:tagLst>
</file>

<file path=ppt/tags/tag1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12Al8Zclr.76r6ypmMhQ"/>
</p:tagLst>
</file>

<file path=ppt/tags/tag1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7IWajnR6OR5sc0LCFzvA"/>
</p:tagLst>
</file>

<file path=ppt/tags/tag1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zZKn0oywuBTN8rylbSkw"/>
</p:tagLst>
</file>

<file path=ppt/tags/tag1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BVkkEby_ZBDCFBzPvyg"/>
</p:tagLst>
</file>

<file path=ppt/tags/tag1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ELgz1z7fXjLKKWmxkcQ"/>
</p:tagLst>
</file>

<file path=ppt/tags/tag1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hoCkWVlqx4P9Zt5rX1A"/>
</p:tagLst>
</file>

<file path=ppt/tags/tag1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vLR405DQRAx1FFSAxYBw"/>
</p:tagLst>
</file>

<file path=ppt/tags/tag1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IhlrrvNclP8Zmp3fVpbQ"/>
</p:tagLst>
</file>

<file path=ppt/tags/tag1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l1AdcgKWu8yjJItKI3W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P3wmwQyu_sRYugs1br0A"/>
</p:tagLst>
</file>

<file path=ppt/tags/tag1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1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1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1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1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1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1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nManCvw0Kx8gapYy.9Q"/>
</p:tagLst>
</file>

<file path=ppt/tags/tag1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1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1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1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1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1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1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1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qYuV.F0eI7EeXk9.EVA"/>
</p:tagLst>
</file>

<file path=ppt/tags/tag1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1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5tmDW8C9KyywyVzBoug"/>
</p:tagLst>
</file>

<file path=ppt/tags/tag1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QH2z5NJEoUTlVZq2MzA"/>
</p:tagLst>
</file>

<file path=ppt/tags/tag1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SHfKOxCSMxc3RMJ3bzg"/>
</p:tagLst>
</file>

<file path=ppt/tags/tag1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qQcu3h8sZzAkPslDwkkA"/>
</p:tagLst>
</file>

<file path=ppt/tags/tag1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qyTT3wG80NoULiwr4ng"/>
</p:tagLst>
</file>

<file path=ppt/tags/tag1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C1fSS0304Sfm5Z9Cl72A"/>
</p:tagLst>
</file>

<file path=ppt/tags/tag1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xHTqDLH7GaoqaCEul.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uGcyTSnIVd0p9.dwZTw"/>
</p:tagLst>
</file>

<file path=ppt/tags/tag1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4gLI6Z.P4o.LkO5Mnb.w"/>
</p:tagLst>
</file>

<file path=ppt/tags/tag1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lY41S1HfabUi4q9T8w6g"/>
</p:tagLst>
</file>

<file path=ppt/tags/tag1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egU9_k_qk1zQTjPcanA"/>
</p:tagLst>
</file>

<file path=ppt/tags/tag1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giBne4RmD_lcbWKsoMg"/>
</p:tagLst>
</file>

<file path=ppt/tags/tag1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THruSmz0qsfj1vYojt9Q"/>
</p:tagLst>
</file>

<file path=ppt/tags/tag1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FVAo1cNQp4.p0H_4Q4sA"/>
</p:tagLst>
</file>

<file path=ppt/tags/tag1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HYTyH5tjWJAlrdksDxQ"/>
</p:tagLst>
</file>

<file path=ppt/tags/tag1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2YV.hYglGAyO79s4tqUg"/>
</p:tagLst>
</file>

<file path=ppt/tags/tag1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beGtgjeUDiKDg5r5cKQ"/>
</p:tagLst>
</file>

<file path=ppt/tags/tag1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2lfXuLk5hPvKl_fG3mg"/>
</p:tagLst>
</file>

<file path=ppt/tags/tag1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CmVzy6rswUbCLT9mKvA"/>
</p:tagLst>
</file>

<file path=ppt/tags/tag1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CPfXj2Ybahu460a_cE9A"/>
</p:tagLst>
</file>

<file path=ppt/tags/tag1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YrI0I0L8bRTmJ3aV1zag"/>
</p:tagLst>
</file>

<file path=ppt/tags/tag1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O2e.fiKRQTJV9dO7G3w"/>
</p:tagLst>
</file>

<file path=ppt/tags/tag1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eZjKtEitYx7ty4yanaZQ"/>
</p:tagLst>
</file>

<file path=ppt/tags/tag1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Msm9BA_G6IR8LP3tGmg"/>
</p:tagLst>
</file>

<file path=ppt/tags/tag1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wPenxNsapr5kaPXxV00A"/>
</p:tagLst>
</file>

<file path=ppt/tags/tag1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1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1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1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1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2KfpOR7JCDmN2T4UpLGg"/>
</p:tagLst>
</file>

<file path=ppt/tags/tag1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1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1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GG03ZT5pHo0jVOFl1Og"/>
</p:tagLst>
</file>

<file path=ppt/tags/tag1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uEGwM60J4DdqyewFgRw"/>
</p:tagLst>
</file>

<file path=ppt/tags/tag1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hKafF7Yy2PyeGIl2VAg"/>
</p:tagLst>
</file>

<file path=ppt/tags/tag1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WKTPvxF.eFNcji6PKAxg"/>
</p:tagLst>
</file>

<file path=ppt/tags/tag1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0wFIg_u_RYIcyGi63aag"/>
</p:tagLst>
</file>

<file path=ppt/tags/tag1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Yu91JLXq6Ky3KQUc6PA"/>
</p:tagLst>
</file>

<file path=ppt/tags/tag1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4lYp2zsBihpHCvJJWia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sJgQTp87QEMksf0QikA"/>
</p:tagLst>
</file>

<file path=ppt/tags/tag1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kA0FEpzE4cpYqQjf0kXw"/>
</p:tagLst>
</file>

<file path=ppt/tags/tag1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PQniKwc.NJrJXno64okQ"/>
</p:tagLst>
</file>

<file path=ppt/tags/tag1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rMFTBTo0GIsIAQls6JlA"/>
</p:tagLst>
</file>

<file path=ppt/tags/tag1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ju1f.NaAos6OGwujIHw"/>
</p:tagLst>
</file>

<file path=ppt/tags/tag1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uRC_7f_P89rGD3xkwRA"/>
</p:tagLst>
</file>

<file path=ppt/tags/tag1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F4yU6rByu4c_VMcf8UQ"/>
</p:tagLst>
</file>

<file path=ppt/tags/tag1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CCQ_iWyP_tj7YV3Xwsw"/>
</p:tagLst>
</file>

<file path=ppt/tags/tag1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kj1_JukZaQ0ihc350ZQ"/>
</p:tagLst>
</file>

<file path=ppt/tags/tag1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AiN8LiqLBtvq1tjGE8fg"/>
</p:tagLst>
</file>

<file path=ppt/tags/tag1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z1c9Bl6jQBViBIwwujY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Y2WO55uihg.X78XTWPw"/>
</p:tagLst>
</file>

<file path=ppt/tags/tag1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EDiiqpbBj7xOj1nvMfJQ"/>
</p:tagLst>
</file>

<file path=ppt/tags/tag1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NAAVi53GDd9_EBHOqcXQ"/>
</p:tagLst>
</file>

<file path=ppt/tags/tag1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sOlhS6UIj0oOlSJF6X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rEwBBf6Pdi1hwohOiq6Q"/>
</p:tagLst>
</file>

<file path=ppt/tags/tag1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8qPWl7TPnmKiHK38LUow"/>
</p:tagLst>
</file>

<file path=ppt/tags/tag1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xgS9Kut0JeTGAW.Oxxg"/>
</p:tagLst>
</file>

<file path=ppt/tags/tag1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Ya.WHl74XaNPusg3VpqQ"/>
</p:tagLst>
</file>

<file path=ppt/tags/tag1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Pf1n_GqFzaK0mCgi8pA"/>
</p:tagLst>
</file>

<file path=ppt/tags/tag1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UE1_RCX2vjGySvMZAwA"/>
</p:tagLst>
</file>

<file path=ppt/tags/tag1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1dImFOwAi8KJxv0SV2w"/>
</p:tagLst>
</file>

<file path=ppt/tags/tag1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h9k.RoZDWnKTlcf3o5Gw"/>
</p:tagLst>
</file>

<file path=ppt/tags/tag1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1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CEQQcKO1w87ofYp8wvw"/>
</p:tagLst>
</file>

<file path=ppt/tags/tag1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W9Adv8KrirS30jTTEd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48x7v8roSOISM.Cvz2zQ"/>
</p:tagLst>
</file>

<file path=ppt/tags/tag1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7cgzRa7aHxsaMVnOR0A"/>
</p:tagLst>
</file>

<file path=ppt/tags/tag1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1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1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aj9o_eWo0zEnOzp9v4A"/>
</p:tagLst>
</file>

<file path=ppt/tags/tag1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3nbTxAFXJzc6bQ60_pw"/>
</p:tagLst>
</file>

<file path=ppt/tags/tag1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ec0lEYJEajp_vpcfZbUw"/>
</p:tagLst>
</file>

<file path=ppt/tags/tag1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1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txRnLz.e4bnwaSc7HPTQ"/>
</p:tagLst>
</file>

<file path=ppt/tags/tag1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4kGs8xAWmeb.KLpkq_ew"/>
</p:tagLst>
</file>

<file path=ppt/tags/tag1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ghdGQLaq70M1wGk7Zn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XxzBr.UX2vghTcczkvA"/>
</p:tagLst>
</file>

<file path=ppt/tags/tag1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Obd4vm4LXJSwKM7iLaAg"/>
</p:tagLst>
</file>

<file path=ppt/tags/tag1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ZAmLFBbrb_YyfGG0di1Q"/>
</p:tagLst>
</file>

<file path=ppt/tags/tag1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qQATHsDA9StqJaraeWuQ"/>
</p:tagLst>
</file>

<file path=ppt/tags/tag1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Sabtg7kyCi_aVY8UDHQ"/>
</p:tagLst>
</file>

<file path=ppt/tags/tag1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JcBTCZltUSwlwe.eVqhg"/>
</p:tagLst>
</file>

<file path=ppt/tags/tag1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UrXO4m4XZWzt4PRR6UrQ"/>
</p:tagLst>
</file>

<file path=ppt/tags/tag1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1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YsN1uD1PqNsS6kNt3fg"/>
</p:tagLst>
</file>

<file path=ppt/tags/tag1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IC8GaSGMCXOgQf94qGA"/>
</p:tagLst>
</file>

<file path=ppt/tags/tag1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S6rMvwq8UZhFGOO4bL5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BbLaV4tf.rKTgTqmEYA"/>
</p:tagLst>
</file>

<file path=ppt/tags/tag1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1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iMZZ3QfpeT5BqxhwSg0Q"/>
</p:tagLst>
</file>

<file path=ppt/tags/tag1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YF1Jj2mzW0CvuSbTQNQ"/>
</p:tagLst>
</file>

<file path=ppt/tags/tag1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I0uNCLs6THsAhu9Z33A"/>
</p:tagLst>
</file>

<file path=ppt/tags/tag1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auFrzu.DfW2QylnUEhw"/>
</p:tagLst>
</file>

<file path=ppt/tags/tag1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aCGOVQJ7rvr35m2BW3CQ"/>
</p:tagLst>
</file>

<file path=ppt/tags/tag1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1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lbISSQ1Q9v0MZf.3O9w"/>
</p:tagLst>
</file>

<file path=ppt/tags/tag1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xLjgqEhMkTXlxh8c1W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whaEhoc3uTp.2AYigkA"/>
</p:tagLst>
</file>

<file path=ppt/tags/tag1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1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DcXdxkWZXwPEGtXz19UA"/>
</p:tagLst>
</file>

<file path=ppt/tags/tag1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yKXMIl3p7vTluhoHYvg"/>
</p:tagLst>
</file>

<file path=ppt/tags/tag1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9z7t8N8tusqrO1GJK7A"/>
</p:tagLst>
</file>

<file path=ppt/tags/tag1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1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ma.o96AskgAif8T8keA"/>
</p:tagLst>
</file>

<file path=ppt/tags/tag1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1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C4.ClstfgibnCEqertw"/>
</p:tagLst>
</file>

<file path=ppt/tags/tag1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1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1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1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dVaGUJb7tJm7Ts2vJuw"/>
</p:tagLst>
</file>

<file path=ppt/tags/tag1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TRglGo5oC.TAoOkB.4g"/>
</p:tagLst>
</file>

<file path=ppt/tags/tag1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D9NMaJvXXx.gtT_fTqA"/>
</p:tagLst>
</file>

<file path=ppt/tags/tag1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lva18127kQ0Izfi_fFQ"/>
</p:tagLst>
</file>

<file path=ppt/tags/tag1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o5t1me_j7aabsTY4XeEw"/>
</p:tagLst>
</file>

<file path=ppt/tags/tag1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1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1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eSwAHSMp5OfeWp2O65w"/>
</p:tagLst>
</file>

<file path=ppt/tags/tag1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Y.5peDmHM9pSCh5nJdw"/>
</p:tagLst>
</file>

<file path=ppt/tags/tag1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M3GSuknhd3ZcCJvlkMg"/>
</p:tagLst>
</file>

<file path=ppt/tags/tag1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6Ii6NiV288i7EvBuh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1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gilfBCIBLm5NHOq5gtA"/>
</p:tagLst>
</file>

<file path=ppt/tags/tag1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GHaSY0GOP.iNPsIHUNnA"/>
</p:tagLst>
</file>

<file path=ppt/tags/tag1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5cWyZZbDqWJV7KIyXag"/>
</p:tagLst>
</file>

<file path=ppt/tags/tag1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1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1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1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1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1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1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HNwZsHGtZgBxHXYqAhA"/>
</p:tagLst>
</file>

<file path=ppt/tags/tag1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0FW2SVaEuWUwuM5rj5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CCFyd4AuZHYMVbMxQ24g"/>
</p:tagLst>
</file>

<file path=ppt/tags/tag1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5fsAuRE_DMgMFu2FmVVA"/>
</p:tagLst>
</file>

<file path=ppt/tags/tag1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P__2.F_B6Pr755YWwPA"/>
</p:tagLst>
</file>

<file path=ppt/tags/tag1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WlQ9PqcztPZN9ZI5z4lA"/>
</p:tagLst>
</file>

<file path=ppt/tags/tag1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p2.VszCtQmattsspzKw"/>
</p:tagLst>
</file>

<file path=ppt/tags/tag1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0zdECGy1khxHd3LO1rOQ"/>
</p:tagLst>
</file>

<file path=ppt/tags/tag1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_A1B_B7utWJwwxn_rkuw"/>
</p:tagLst>
</file>

<file path=ppt/tags/tag1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NHnmrooSs9HLetNHGhmg"/>
</p:tagLst>
</file>

<file path=ppt/tags/tag1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QXyIkBglHWo.dUDOhUA"/>
</p:tagLst>
</file>

<file path=ppt/tags/tag1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NjigaO4A.wVwVxhdwEr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1xUf7kNtrxO9NJgjdbg"/>
</p:tagLst>
</file>

<file path=ppt/tags/tag1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JiJI_GXBuRwCX8Ay_bA"/>
</p:tagLst>
</file>

<file path=ppt/tags/tag1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0YCztBTqTnb5fbNuakUg"/>
</p:tagLst>
</file>

<file path=ppt/tags/tag1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Lum3.PrLcNjKe0lbhAA"/>
</p:tagLst>
</file>

<file path=ppt/tags/tag1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RGHdClX_6ZW1MmF_E3A"/>
</p:tagLst>
</file>

<file path=ppt/tags/tag1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ddMMF9Kv_eYhUXv._cIg"/>
</p:tagLst>
</file>

<file path=ppt/tags/tag1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H9k43clJAsnK6G4y7mKg"/>
</p:tagLst>
</file>

<file path=ppt/tags/tag1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knuxnj082joeBFQ0TQw"/>
</p:tagLst>
</file>

<file path=ppt/tags/tag1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yZ23.kVqK4FsRVGooJ7A"/>
</p:tagLst>
</file>

<file path=ppt/tags/tag1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BURc_OFeYWiM7jyGCeEg"/>
</p:tagLst>
</file>

<file path=ppt/tags/tag1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1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3CPHVrZNR5MN0uPInZcg"/>
</p:tagLst>
</file>

<file path=ppt/tags/tag1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1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1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N06S5PK0I2J9zeusllg"/>
</p:tagLst>
</file>

<file path=ppt/tags/tag1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1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1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1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1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1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1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1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79NPvUSL.hUpRsFcJBw"/>
</p:tagLst>
</file>

<file path=ppt/tags/tag1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czvwII9Dhcl9YVgsKfTg"/>
</p:tagLst>
</file>

<file path=ppt/tags/tag1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44FioQ7A1VLfwup_w3A"/>
</p:tagLst>
</file>

<file path=ppt/tags/tag1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XjFRr9MCeDik_Lw.cFQ"/>
</p:tagLst>
</file>

<file path=ppt/tags/tag1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G7n9ia3_Uhz4HxjcVUhQ"/>
</p:tagLst>
</file>

<file path=ppt/tags/tag1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6adCw5CrYtwhNHmOuQ_A"/>
</p:tagLst>
</file>

<file path=ppt/tags/tag1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7l9n0qogIDfdT7wzCD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TTq1h9WxBN8SUOhboEw"/>
</p:tagLst>
</file>

<file path=ppt/tags/tag1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6xtAPmtI1M7f0rWo8Stg"/>
</p:tagLst>
</file>

<file path=ppt/tags/tag1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krawx2ivGL5O5WlomfA"/>
</p:tagLst>
</file>

<file path=ppt/tags/tag1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tXJdn6Er.70g8x77o4XQ"/>
</p:tagLst>
</file>

<file path=ppt/tags/tag1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.sg.JilvDWfOar0GsY6g"/>
</p:tagLst>
</file>

<file path=ppt/tags/tag1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Csjit8RVaQTF3xbqCxDA"/>
</p:tagLst>
</file>

<file path=ppt/tags/tag1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jYRkd8tHS4l2zV1FWC1A"/>
</p:tagLst>
</file>

<file path=ppt/tags/tag1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4IXuM7e9.SOBnTe7DA"/>
</p:tagLst>
</file>

<file path=ppt/tags/tag1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8VqSxtevHw9koNZksgw"/>
</p:tagLst>
</file>

<file path=ppt/tags/tag1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EL9o0EoqvGes_pOAo1A"/>
</p:tagLst>
</file>

<file path=ppt/tags/tag1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Ui2DPCIrqb.SxyePMjd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JYhYywoiZTusAE1B5YMw"/>
</p:tagLst>
</file>

<file path=ppt/tags/tag1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j9PjJt8YMeXjRzj_eAJg"/>
</p:tagLst>
</file>

<file path=ppt/tags/tag1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uLqjoYuxfFt6MAO3OhQA"/>
</p:tagLst>
</file>

<file path=ppt/tags/tag1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DiKFlhrwXoHRfdendU2w"/>
</p:tagLst>
</file>

<file path=ppt/tags/tag1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v6vDTXGvqnYJsD67aV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JC5RLMn6hsDJHBdOu_Q"/>
</p:tagLst>
</file>

<file path=ppt/tags/tag1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gbvWU5pmzz8b8Eu92.ew"/>
</p:tagLst>
</file>

<file path=ppt/tags/tag1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9H5zr4btXUn1DTRBU5ug"/>
</p:tagLst>
</file>

<file path=ppt/tags/tag1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oP5SHeP9Ytb9CC0W13mA"/>
</p:tagLst>
</file>

<file path=ppt/tags/tag1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TIjBidJ6_1jDcd1AyOmA"/>
</p:tagLst>
</file>

<file path=ppt/tags/tag1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2S_w1Qmm.psaUr1QIkEw"/>
</p:tagLst>
</file>

<file path=ppt/tags/tag1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0wS7xqJGI_d1SKPtIwA"/>
</p:tagLst>
</file>

<file path=ppt/tags/tag1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kdz3AVey4wZkKkRRHkg"/>
</p:tagLst>
</file>

<file path=ppt/tags/tag1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Ss2UVjMsGRbRYxVBoxA"/>
</p:tagLst>
</file>

<file path=ppt/tags/tag1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E_faFxNlgBG12rAmWDoQ"/>
</p:tagLst>
</file>

<file path=ppt/tags/tag1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liV4AGQzngC3dsJUK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KWFZFpqG9AkHb_oPgZ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I_jDHBGOQuWJNgcwQ_VA"/>
</p:tagLst>
</file>

<file path=ppt/tags/tag1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HUCEseNfWXQmoebEnj2Q"/>
</p:tagLst>
</file>

<file path=ppt/tags/tag1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afY1fpHb9Pup7ALJvJA"/>
</p:tagLst>
</file>

<file path=ppt/tags/tag1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2zD9Ez9Wy2hBcUWcaGPQ"/>
</p:tagLst>
</file>

<file path=ppt/tags/tag1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dshnGLaaQEXZtSsjWVQ"/>
</p:tagLst>
</file>

<file path=ppt/tags/tag1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d1mirbNDERT37xWdX26g"/>
</p:tagLst>
</file>

<file path=ppt/tags/tag1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1D64kHG7GeIVOoLg8ThQ"/>
</p:tagLst>
</file>

<file path=ppt/tags/tag1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79E1Gc6EPkKKYVTQNraQ"/>
</p:tagLst>
</file>

<file path=ppt/tags/tag1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OL9CPSjYBGkVsSuoswxg"/>
</p:tagLst>
</file>

<file path=ppt/tags/tag1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eyXaLOEEiAYrIop_zYw"/>
</p:tagLst>
</file>

<file path=ppt/tags/tag1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57bXzr_CtozUgYKT4LQ"/>
</p:tagLst>
</file>

<file path=ppt/tags/tag1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wufP5BNK9_GeOrwRdSdg"/>
</p:tagLst>
</file>

<file path=ppt/tags/tag1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qf05jt5vxrtfK3BJ.ttw"/>
</p:tagLst>
</file>

<file path=ppt/tags/tag1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hk_nXYIxJ1LSI5Y6jIQ"/>
</p:tagLst>
</file>

<file path=ppt/tags/tag1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LQRhkzjl3__u9m.IE5yA"/>
</p:tagLst>
</file>

<file path=ppt/tags/tag1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1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pZksRWU12XZcwVomqfsw"/>
</p:tagLst>
</file>

<file path=ppt/tags/tag1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Hs3dYRMcLUX7dW_YPu6w"/>
</p:tagLst>
</file>

<file path=ppt/tags/tag1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yFBR9P3wtzREz_k7hew"/>
</p:tagLst>
</file>

<file path=ppt/tags/tag1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GKnPqfjfKlR2y_uUHIw"/>
</p:tagLst>
</file>

<file path=ppt/tags/tag1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2N0oXpeTfWPOEZsPg1b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ncqFprsSLu1JrQvaAYg"/>
</p:tagLst>
</file>

<file path=ppt/tags/tag1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gK6GATUrg2W.M1Y911bA"/>
</p:tagLst>
</file>

<file path=ppt/tags/tag1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oNEmviuFQYz40ss_S9fg"/>
</p:tagLst>
</file>

<file path=ppt/tags/tag1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QMNilvUhhEGkGlR9dKIQ"/>
</p:tagLst>
</file>

<file path=ppt/tags/tag1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1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1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1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1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1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1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XEQCW.6CxH7TmUwB5zw"/>
</p:tagLst>
</file>

<file path=ppt/tags/tag1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1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1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1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1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1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1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1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1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1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1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1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1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1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1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1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1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1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KRdEXNaDWbl3J48nHA"/>
</p:tagLst>
</file>

<file path=ppt/tags/tag1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dlGRekmu43qQnJ8AykyQ"/>
</p:tagLst>
</file>

<file path=ppt/tags/tag1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.bmNy0CL.oanS_iuz8OQ"/>
</p:tagLst>
</file>

<file path=ppt/tags/tag1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Zv20T5tqKhk8NYA.xXw"/>
</p:tagLst>
</file>

<file path=ppt/tags/tag1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JVL1IsGssgIg7Pse6Nqw"/>
</p:tagLst>
</file>

<file path=ppt/tags/tag1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8M.jg9dg6RhJmy9oJC9g"/>
</p:tagLst>
</file>

<file path=ppt/tags/tag1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tUQ_xltOJxo7oPqrnfg"/>
</p:tagLst>
</file>

<file path=ppt/tags/tag1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Six4zAfvmAMnGxDeN.XA"/>
</p:tagLst>
</file>

<file path=ppt/tags/tag1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6WMN49uxYIwphETJdgZw"/>
</p:tagLst>
</file>

<file path=ppt/tags/tag1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VFZ2Q3Fq2JQpIyv.L2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1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IdrCH4zWiquYs77fyIdg"/>
</p:tagLst>
</file>

<file path=ppt/tags/tag1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MitUAgXQ9N3QyLGdIHw"/>
</p:tagLst>
</file>

<file path=ppt/tags/tag1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.TRgEOvf40xjycksSqAA"/>
</p:tagLst>
</file>

<file path=ppt/tags/tag1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hLxT4xwBOg0VDt9tVnkw"/>
</p:tagLst>
</file>

<file path=ppt/tags/tag1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xE7Yx4yqPechBQcfeoTA"/>
</p:tagLst>
</file>

<file path=ppt/tags/tag1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E94eJSOc3OcDCMB_znQw"/>
</p:tagLst>
</file>

<file path=ppt/tags/tag1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jdfoFKhkPkzneyO_B3A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xonlD8E33Ub3WnNNYIw"/>
</p:tagLst>
</file>

<file path=ppt/tags/tag1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D0qMkHmHjK1F5NVDdWOQ"/>
</p:tagLst>
</file>

<file path=ppt/tags/tag1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xhxDh7S5UGlRzYkmhh.w"/>
</p:tagLst>
</file>

<file path=ppt/tags/tag1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FeFc1zSTZp8DsKV55G1A"/>
</p:tagLst>
</file>

<file path=ppt/tags/tag1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tHKUDqx4_6LwcrOFpCOig"/>
</p:tagLst>
</file>

<file path=ppt/tags/tag1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BbaAfZa.pxrCT_HmQGg"/>
</p:tagLst>
</file>

<file path=ppt/tags/tag1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GptoSCxf_2P4GU07q6A"/>
</p:tagLst>
</file>

<file path=ppt/tags/tag1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CHa7OtV81HQe4os.JRg"/>
</p:tagLst>
</file>

<file path=ppt/tags/tag1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cM4Olc_ra9zAa95duzlg"/>
</p:tagLst>
</file>

<file path=ppt/tags/tag1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hmVD2Rjmyp.aa3_TIyw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1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g7vLmReizvvDq3ss0QQ"/>
</p:tagLst>
</file>

<file path=ppt/tags/tag1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9xLDgMaaGBPHL4B5Ivg"/>
</p:tagLst>
</file>

<file path=ppt/tags/tag1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sH8W3qp1W6njW8nc5ug"/>
</p:tagLst>
</file>

<file path=ppt/tags/tag1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4iU_Y7Z4zYJcVsXpWy2g"/>
</p:tagLst>
</file>

<file path=ppt/tags/tag1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3GKEa21Voo8YEmdTsjQ"/>
</p:tagLst>
</file>

<file path=ppt/tags/tag1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J73hqty5WCKIOUYdM2Tw"/>
</p:tagLst>
</file>

<file path=ppt/tags/tag1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6rmu.4TyuM_X08CeQdw"/>
</p:tagLst>
</file>

<file path=ppt/tags/tag1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caOkQUeX7DBZ8hv1IaQ"/>
</p:tagLst>
</file>

<file path=ppt/tags/tag1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vNMTkmwg2jfDGvIcWIxA"/>
</p:tagLst>
</file>

<file path=ppt/tags/tag1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Uki.y9n8TTIoT7VkVY1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1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sZVoQ8ct4YrKfp_Yf9CA"/>
</p:tagLst>
</file>

<file path=ppt/tags/tag1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dOcOY0FAS2OJIMk3tOA"/>
</p:tagLst>
</file>

<file path=ppt/tags/tag1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lJ7P0lDHew17Fmehpyw"/>
</p:tagLst>
</file>

<file path=ppt/tags/tag1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1E7i.XB6QZu79PUQhdg"/>
</p:tagLst>
</file>

<file path=ppt/tags/tag1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3CKdIS24pcvR4_zoddfQ"/>
</p:tagLst>
</file>

<file path=ppt/tags/tag1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E.ClIQ0YyF_8KDqp1qg"/>
</p:tagLst>
</file>

<file path=ppt/tags/tag1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teVgv5138A.4IJmhFAnw"/>
</p:tagLst>
</file>

<file path=ppt/tags/tag1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AnTDj4hRW6WM2AvPMcTA"/>
</p:tagLst>
</file>

<file path=ppt/tags/tag1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AjqjiqhoSUaTeod3wRA"/>
</p:tagLst>
</file>

<file path=ppt/tags/tag1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GopEBi9dpsBnswH8Hh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P3wmwQyu_sRYugs1br0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1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7wSSur9u3yOJ4rJCU8A"/>
</p:tagLst>
</file>

<file path=ppt/tags/tag1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dWp68HKNh2A.BR0r1uA"/>
</p:tagLst>
</file>

<file path=ppt/tags/tag1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CRe__TUyhfsRiR8z09Q"/>
</p:tagLst>
</file>

<file path=ppt/tags/tag1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g1fyHVDcYbCMPdQRmtIQ"/>
</p:tagLst>
</file>

<file path=ppt/tags/tag1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h52Qw4XL.ZBuytRIsu3g"/>
</p:tagLst>
</file>

<file path=ppt/tags/tag1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gAjnV_hg21SAf9HWA2aQ"/>
</p:tagLst>
</file>

<file path=ppt/tags/tag1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w.Rjhw3Zogc3bFer.3w"/>
</p:tagLst>
</file>

<file path=ppt/tags/tag1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Ji6uME87Rhs231zZRnQ"/>
</p:tagLst>
</file>

<file path=ppt/tags/tag1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3pwaa3HLdKXd6e_YmQDQ"/>
</p:tagLst>
</file>

<file path=ppt/tags/tag1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7hKJ1KqCQli3l0TfL5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wzrZ6mkrsWXDIS93JCog"/>
</p:tagLst>
</file>

<file path=ppt/tags/tag1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jfCNAc3AGcJzAY16wRw"/>
</p:tagLst>
</file>

<file path=ppt/tags/tag1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tBBx65tlUXN3YzR8krlw"/>
</p:tagLst>
</file>

<file path=ppt/tags/tag1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fkC8gP0PaMggTU9qKbsg"/>
</p:tagLst>
</file>

<file path=ppt/tags/tag1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Cx17L4SgT12JbXusc5A"/>
</p:tagLst>
</file>

<file path=ppt/tags/tag1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opH56a3PIMEGvVZE5QQ"/>
</p:tagLst>
</file>

<file path=ppt/tags/tag1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_rTk6v.H7bzW_2wZ2uA"/>
</p:tagLst>
</file>

<file path=ppt/tags/tag1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jJxbyBs3J5T2KUF07Hwg"/>
</p:tagLst>
</file>

<file path=ppt/tags/tag1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DTv83LadeLqjxPjWEMhQ"/>
</p:tagLst>
</file>

<file path=ppt/tags/tag1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30F_.ahJJDTWZsFhkw"/>
</p:tagLst>
</file>

<file path=ppt/tags/tag1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lqRGHrkr5PyqnommAG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hIma51BLRMn3Ff7a0_b4Q"/>
</p:tagLst>
</file>

<file path=ppt/tags/tag1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ISlIp9.ohZGG1iAgO1Q"/>
</p:tagLst>
</file>

<file path=ppt/tags/tag1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tLIsQSj6f79NiOhmF7yA"/>
</p:tagLst>
</file>

<file path=ppt/tags/tag1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CFQmoLNOMAv492qEU.w"/>
</p:tagLst>
</file>

<file path=ppt/tags/tag1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7dCPLIZsse3sS.sFnVXA"/>
</p:tagLst>
</file>

<file path=ppt/tags/tag1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ugZhjPDdRLSMdV.fvj1A"/>
</p:tagLst>
</file>

<file path=ppt/tags/tag1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5J7B0_ejGSzbUpECHLw"/>
</p:tagLst>
</file>

<file path=ppt/tags/tag1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CMYqiq2J_Nwof0g.JFw"/>
</p:tagLst>
</file>

<file path=ppt/tags/tag1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2nlhC7haC4zsZIxu4Dw"/>
</p:tagLst>
</file>

<file path=ppt/tags/tag1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k2yOk4nVzwJotSACuCQ"/>
</p:tagLst>
</file>

<file path=ppt/tags/tag1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zrgvUX5g.l6MebumXm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PU12AxyO8DQS5hXr_R1w"/>
</p:tagLst>
</file>

<file path=ppt/tags/tag1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P5jSiwyl4kn0ScMHyllQ"/>
</p:tagLst>
</file>

<file path=ppt/tags/tag1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ZCMXPSkqae7zEHuzkNw"/>
</p:tagLst>
</file>

<file path=ppt/tags/tag1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520nax_qBF46qXkY74eg"/>
</p:tagLst>
</file>

<file path=ppt/tags/tag1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RkrhozSRcJg3Vba7H9A"/>
</p:tagLst>
</file>

<file path=ppt/tags/tag1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L.F8p2oLV_bcI3PXL2w"/>
</p:tagLst>
</file>

<file path=ppt/tags/tag1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1ssEcBFJSnP_cSYejT0Q"/>
</p:tagLst>
</file>

<file path=ppt/tags/tag1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tjeW698fJZbc.KRho3g"/>
</p:tagLst>
</file>

<file path=ppt/tags/tag1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aSdfprAVbJkPbR6N_qmQ"/>
</p:tagLst>
</file>

<file path=ppt/tags/tag1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vqlBT1C17F3Do3KcCBRA"/>
</p:tagLst>
</file>

<file path=ppt/tags/tag1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mydm_btJiVDPbBUjEX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xZBQztcnV_FpOZsE1tSg"/>
</p:tagLst>
</file>

<file path=ppt/tags/tag1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_igIxplElH89ZiWIarjA"/>
</p:tagLst>
</file>

<file path=ppt/tags/tag1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tFtInOdTmEeQf7.P5kg"/>
</p:tagLst>
</file>

<file path=ppt/tags/tag1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m26ZCW38oDHroOGN4xA"/>
</p:tagLst>
</file>

<file path=ppt/tags/tag1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yoWKlak3GenWiLfg7jg"/>
</p:tagLst>
</file>

<file path=ppt/tags/tag1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VnHcNLviuQPWz.5OJHw"/>
</p:tagLst>
</file>

<file path=ppt/tags/tag1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BpIdsVmi4MdWyYnhq4w"/>
</p:tagLst>
</file>

<file path=ppt/tags/tag1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3uCG1.pB3H0YWzbLktEA"/>
</p:tagLst>
</file>

<file path=ppt/tags/tag1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8pZ6ENwKpA_tujZQjWg"/>
</p:tagLst>
</file>

<file path=ppt/tags/tag1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RYm0PMKZQuf1K5GLf1A"/>
</p:tagLst>
</file>

<file path=ppt/tags/tag1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T.ZXkgRsMY.DgKVTaa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69DN8by_6LPh1KAYWd5AQ"/>
</p:tagLst>
</file>

<file path=ppt/tags/tag1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xjF6s9D3la28ZZZU8osQ"/>
</p:tagLst>
</file>

<file path=ppt/tags/tag1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Lpztl2xXalR6XAjG67Q"/>
</p:tagLst>
</file>

<file path=ppt/tags/tag1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NbtnPnpiPnzSTg_Z.Bw"/>
</p:tagLst>
</file>

<file path=ppt/tags/tag1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EvnSOOtgom6lssBz4xQg"/>
</p:tagLst>
</file>

<file path=ppt/tags/tag1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61dwj3SNAY6PcYmlaHLA"/>
</p:tagLst>
</file>

<file path=ppt/tags/tag1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eBVTX5QxDei7QFMjAgbg"/>
</p:tagLst>
</file>

<file path=ppt/tags/tag1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591Jm39AWPcuAFSHjnQA"/>
</p:tagLst>
</file>

<file path=ppt/tags/tag1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QosS0ni6PyOhJFaMaMfw"/>
</p:tagLst>
</file>

<file path=ppt/tags/tag1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Z1oDPh.X8PC.coLOFKpQ"/>
</p:tagLst>
</file>

<file path=ppt/tags/tag1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m4.NNSxpL9xQ3qBUSTnQ"/>
</p:tagLst>
</file>

<file path=ppt/tags/tag1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jdfoFKhkPkzneyO_B3AQ"/>
</p:tagLst>
</file>

<file path=ppt/tags/tag1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xonlD8E33Ub3WnNNYIw"/>
</p:tagLst>
</file>

<file path=ppt/tags/tag1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rrIboySzbr_6MrObZ_Yw"/>
</p:tagLst>
</file>

<file path=ppt/tags/tag1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tuf7B5Af_qhkENe5EHqw"/>
</p:tagLst>
</file>

<file path=ppt/tags/tag1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L7nW1Qp4nSmL2HtNGURQ"/>
</p:tagLst>
</file>

<file path=ppt/tags/tag1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Nu3UW0793bY.rxQMFWi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beGtgjeUDiKDg5r5cKQ"/>
</p:tagLst>
</file>

<file path=ppt/tags/tag1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GptoSCxf_2P4GU07q6A"/>
</p:tagLst>
</file>

<file path=ppt/tags/tag1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CHa7OtV81HQe4os.JRg"/>
</p:tagLst>
</file>

<file path=ppt/tags/tag1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cM4Olc_ra9zAa95duzlg"/>
</p:tagLst>
</file>

<file path=ppt/tags/tag1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hmVD2Rjmyp.aa3_TIywg"/>
</p:tagLst>
</file>

<file path=ppt/tags/tag1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g7vLmReizvvDq3ss0QQ"/>
</p:tagLst>
</file>

<file path=ppt/tags/tag1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9xLDgMaaGBPHL4B5Ivg"/>
</p:tagLst>
</file>

<file path=ppt/tags/tag1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sH8W3qp1W6njW8nc5ug"/>
</p:tagLst>
</file>

<file path=ppt/tags/tag1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4iU_Y7Z4zYJcVsXpWy2g"/>
</p:tagLst>
</file>

<file path=ppt/tags/tag1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3GKEa21Voo8YEmdTsjQ"/>
</p:tagLst>
</file>

<file path=ppt/tags/tag1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J73hqty5WCKIOUYdM2T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hyb0gfd9D9.0p_kxZnyMA"/>
</p:tagLst>
</file>

<file path=ppt/tags/tag1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6rmu.4TyuM_X08CeQdw"/>
</p:tagLst>
</file>

<file path=ppt/tags/tag1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caOkQUeX7DBZ8hv1IaQ"/>
</p:tagLst>
</file>

<file path=ppt/tags/tag1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vNMTkmwg2jfDGvIcWIxA"/>
</p:tagLst>
</file>

<file path=ppt/tags/tag1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Uki.y9n8TTIoT7VkVY1Q"/>
</p:tagLst>
</file>

<file path=ppt/tags/tag1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sZVoQ8ct4YrKfp_Yf9CA"/>
</p:tagLst>
</file>

<file path=ppt/tags/tag1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dOcOY0FAS2OJIMk3tOA"/>
</p:tagLst>
</file>

<file path=ppt/tags/tag1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1E7i.XB6QZu79PUQhdg"/>
</p:tagLst>
</file>

<file path=ppt/tags/tag1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lJ7P0lDHew17Fmehpyw"/>
</p:tagLst>
</file>

<file path=ppt/tags/tag1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3CKdIS24pcvR4_zoddfQ"/>
</p:tagLst>
</file>

<file path=ppt/tags/tag1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E.ClIQ0YyF_8KDqp1q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O2e.fiKRQTJV9dO7G3w"/>
</p:tagLst>
</file>

<file path=ppt/tags/tag1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teVgv5138A.4IJmhFAnw"/>
</p:tagLst>
</file>

<file path=ppt/tags/tag1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AjqjiqhoSUaTeod3wRA"/>
</p:tagLst>
</file>

<file path=ppt/tags/tag1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AnTDj4hRW6WM2AvPMcTA"/>
</p:tagLst>
</file>

<file path=ppt/tags/tag1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7wSSur9u3yOJ4rJCU8A"/>
</p:tagLst>
</file>

<file path=ppt/tags/tag1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GopEBi9dpsBnswH8Hhg"/>
</p:tagLst>
</file>

<file path=ppt/tags/tag1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dWp68HKNh2A.BR0r1uA"/>
</p:tagLst>
</file>

<file path=ppt/tags/tag1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CRe__TUyhfsRiR8z09Q"/>
</p:tagLst>
</file>

<file path=ppt/tags/tag1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g1fyHVDcYbCMPdQRmtIQ"/>
</p:tagLst>
</file>

<file path=ppt/tags/tag1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gAjnV_hg21SAf9HWA2aQ"/>
</p:tagLst>
</file>

<file path=ppt/tags/tag1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h52Qw4XL.ZBuytRIsu3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nManCvw0Kx8gapYy.9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FfUwZpAW9_pPhFI7CWJA"/>
</p:tagLst>
</file>

<file path=ppt/tags/tag1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w.Rjhw3Zogc3bFer.3w"/>
</p:tagLst>
</file>

<file path=ppt/tags/tag1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Ji6uME87Rhs231zZRnQ"/>
</p:tagLst>
</file>

<file path=ppt/tags/tag1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3pwaa3HLdKXd6e_YmQDQ"/>
</p:tagLst>
</file>

<file path=ppt/tags/tag1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jfCNAc3AGcJzAY16wRw"/>
</p:tagLst>
</file>

<file path=ppt/tags/tag1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tBBx65tlUXN3YzR8krlw"/>
</p:tagLst>
</file>

<file path=ppt/tags/tag1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Cx17L4SgT12JbXusc5A"/>
</p:tagLst>
</file>

<file path=ppt/tags/tag1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7hKJ1KqCQli3l0TfL5Q"/>
</p:tagLst>
</file>

<file path=ppt/tags/tag1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opH56a3PIMEGvVZE5QQ"/>
</p:tagLst>
</file>

<file path=ppt/tags/tag1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EvnSOOtgom6lssBz4xQg"/>
</p:tagLst>
</file>

<file path=ppt/tags/tag1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NbtnPnpiPnzSTg_Z.B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9L__sjEJON6zGGtUAwhQ"/>
</p:tagLst>
</file>

<file path=ppt/tags/tag1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T.ZXkgRsMY.DgKVTaaQ"/>
</p:tagLst>
</file>

<file path=ppt/tags/tag1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RYm0PMKZQuf1K5GLf1A"/>
</p:tagLst>
</file>

<file path=ppt/tags/tag1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jJxbyBs3J5T2KUF07Hwg"/>
</p:tagLst>
</file>

<file path=ppt/tags/tag1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_rTk6v.H7bzW_2wZ2uA"/>
</p:tagLst>
</file>

<file path=ppt/tags/tag1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ISlIp9.ohZGG1iAgO1Q"/>
</p:tagLst>
</file>

<file path=ppt/tags/tag1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tLIsQSj6f79NiOhmF7yA"/>
</p:tagLst>
</file>

<file path=ppt/tags/tag1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30F_.ahJJDTWZsFhkw"/>
</p:tagLst>
</file>

<file path=ppt/tags/tag1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7dCPLIZsse3sS.sFnVXA"/>
</p:tagLst>
</file>

<file path=ppt/tags/tag1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ugZhjPDdRLSMdV.fvj1A"/>
</p:tagLst>
</file>

<file path=ppt/tags/tag1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5J7B0_ejGSzbUpECHL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2KfpOR7JCDmN2T4UpLGg"/>
</p:tagLst>
</file>

<file path=ppt/tags/tag1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CMYqiq2J_Nwof0g.JFw"/>
</p:tagLst>
</file>

<file path=ppt/tags/tag1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lqRGHrkr5PyqnommAGw"/>
</p:tagLst>
</file>

<file path=ppt/tags/tag1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DTv83LadeLqjxPjWEMhQ"/>
</p:tagLst>
</file>

<file path=ppt/tags/tag1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zrgvUX5g.l6MebumXmQ"/>
</p:tagLst>
</file>

<file path=ppt/tags/tag1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P5jSiwyl4kn0ScMHyllQ"/>
</p:tagLst>
</file>

<file path=ppt/tags/tag1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CFQmoLNOMAv492qEU.w"/>
</p:tagLst>
</file>

<file path=ppt/tags/tag1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2nlhC7haC4zsZIxu4Dw"/>
</p:tagLst>
</file>

<file path=ppt/tags/tag1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RkrhozSRcJg3Vba7H9A"/>
</p:tagLst>
</file>

<file path=ppt/tags/tag1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L.F8p2oLV_bcI3PXL2w"/>
</p:tagLst>
</file>

<file path=ppt/tags/tag1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ZCMXPSkqae7zEHuzkN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gbyr4XCH7UEjkt4UKIkA"/>
</p:tagLst>
</file>

<file path=ppt/tags/tag1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8pZ6ENwKpA_tujZQjWg"/>
</p:tagLst>
</file>

<file path=ppt/tags/tag1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aSdfprAVbJkPbR6N_qmQ"/>
</p:tagLst>
</file>

<file path=ppt/tags/tag1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vqlBT1C17F3Do3KcCBRA"/>
</p:tagLst>
</file>

<file path=ppt/tags/tag1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520nax_qBF46qXkY74eg"/>
</p:tagLst>
</file>

<file path=ppt/tags/tag1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_igIxplElH89ZiWIarjA"/>
</p:tagLst>
</file>

<file path=ppt/tags/tag1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1ssEcBFJSnP_cSYejT0Q"/>
</p:tagLst>
</file>

<file path=ppt/tags/tag1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m26ZCW38oDHroOGN4xA"/>
</p:tagLst>
</file>

<file path=ppt/tags/tag1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yoWKlak3GenWiLfg7jg"/>
</p:tagLst>
</file>

<file path=ppt/tags/tag1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tjeW698fJZbc.KRho3g"/>
</p:tagLst>
</file>

<file path=ppt/tags/tag1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mydm_btJiVDPbBUjEX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GG03ZT5pHo0jVOFl1Og"/>
</p:tagLst>
</file>

<file path=ppt/tags/tag1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3uCG1.pB3H0YWzbLktEA"/>
</p:tagLst>
</file>

<file path=ppt/tags/tag1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Z1oDPh.X8PC.coLOFKpQ"/>
</p:tagLst>
</file>

<file path=ppt/tags/tag1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VnHcNLviuQPWz.5OJHw"/>
</p:tagLst>
</file>

<file path=ppt/tags/tag1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fkC8gP0PaMggTU9qKbsg"/>
</p:tagLst>
</file>

<file path=ppt/tags/tag1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xjF6s9D3la28ZZZU8osQ"/>
</p:tagLst>
</file>

<file path=ppt/tags/tag1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Lpztl2xXalR6XAjG67Q"/>
</p:tagLst>
</file>

<file path=ppt/tags/tag1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k2yOk4nVzwJotSACuCQ"/>
</p:tagLst>
</file>

<file path=ppt/tags/tag1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BpIdsVmi4MdWyYnhq4w"/>
</p:tagLst>
</file>

<file path=ppt/tags/tag1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61dwj3SNAY6PcYmlaHLA"/>
</p:tagLst>
</file>

<file path=ppt/tags/tag1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eBVTX5QxDei7QFMjAgb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HJPLVbfpBr449LX2Tciw"/>
</p:tagLst>
</file>

<file path=ppt/tags/tag1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591Jm39AWPcuAFSHjnQA"/>
</p:tagLst>
</file>

<file path=ppt/tags/tag1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QosS0ni6PyOhJFaMaMfw"/>
</p:tagLst>
</file>

<file path=ppt/tags/tag1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u96Lkv23SGEgCC_iE7Q"/>
</p:tagLst>
</file>

<file path=ppt/tags/tag1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Y3psxVAR51FOuHzqZMPA"/>
</p:tagLst>
</file>

<file path=ppt/tags/tag1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aiS0wDHMaoXrcGzUTUQ"/>
</p:tagLst>
</file>

<file path=ppt/tags/tag1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BAg7N8il0nrFJqRpeZUw"/>
</p:tagLst>
</file>

<file path=ppt/tags/tag1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I9KR43YFN.lUoXrj1.KA"/>
</p:tagLst>
</file>

<file path=ppt/tags/tag1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tFtInOdTmEeQf7.P5kg"/>
</p:tagLst>
</file>

<file path=ppt/tags/tag1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4o2ClzYMOEvzIbO4ixg"/>
</p:tagLst>
</file>

<file path=ppt/tags/tag1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1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1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jdfoFKhkPkzneyO_B3AQ"/>
</p:tagLst>
</file>

<file path=ppt/tags/tag1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xonlD8E33Ub3WnNNYIw"/>
</p:tagLst>
</file>

<file path=ppt/tags/tag1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MJIzXn4CjQffyBvC58Pg"/>
</p:tagLst>
</file>

<file path=ppt/tags/tag1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7fyvyCaEPHIztaJCo3Yg"/>
</p:tagLst>
</file>

<file path=ppt/tags/tag1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R8ynvI.tF8GCkRQkmII_g"/>
</p:tagLst>
</file>

<file path=ppt/tags/tag1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jcwYiBFhKXtozh5lnRpQ"/>
</p:tagLst>
</file>

<file path=ppt/tags/tag1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bzWaMsZjz6V5Lbbdc7M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uEGwM60J4DdqyewFgRw"/>
</p:tagLst>
</file>

<file path=ppt/tags/tag1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CHa7OtV81HQe4os.JRg"/>
</p:tagLst>
</file>

<file path=ppt/tags/tag1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GptoSCxf_2P4GU07q6A"/>
</p:tagLst>
</file>

<file path=ppt/tags/tag1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cM4Olc_ra9zAa95duzlg"/>
</p:tagLst>
</file>

<file path=ppt/tags/tag1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hmVD2Rjmyp.aa3_TIywg"/>
</p:tagLst>
</file>

<file path=ppt/tags/tag1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g7vLmReizvvDq3ss0QQ"/>
</p:tagLst>
</file>

<file path=ppt/tags/tag1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9xLDgMaaGBPHL4B5Ivg"/>
</p:tagLst>
</file>

<file path=ppt/tags/tag1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sH8W3qp1W6njW8nc5ug"/>
</p:tagLst>
</file>

<file path=ppt/tags/tag1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4iU_Y7Z4zYJcVsXpWy2g"/>
</p:tagLst>
</file>

<file path=ppt/tags/tag1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3GKEa21Voo8YEmdTsjQ"/>
</p:tagLst>
</file>

<file path=ppt/tags/tag1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J73hqty5WCKIOUYdM2T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pG0NLFVPn4dngsjJskbw"/>
</p:tagLst>
</file>

<file path=ppt/tags/tag1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6rmu.4TyuM_X08CeQdw"/>
</p:tagLst>
</file>

<file path=ppt/tags/tag1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caOkQUeX7DBZ8hv1IaQ"/>
</p:tagLst>
</file>

<file path=ppt/tags/tag1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vNMTkmwg2jfDGvIcWIxA"/>
</p:tagLst>
</file>

<file path=ppt/tags/tag1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Uki.y9n8TTIoT7VkVY1Q"/>
</p:tagLst>
</file>

<file path=ppt/tags/tag1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sZVoQ8ct4YrKfp_Yf9CA"/>
</p:tagLst>
</file>

<file path=ppt/tags/tag1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dOcOY0FAS2OJIMk3tOA"/>
</p:tagLst>
</file>

<file path=ppt/tags/tag1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lJ7P0lDHew17Fmehpyw"/>
</p:tagLst>
</file>

<file path=ppt/tags/tag1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1E7i.XB6QZu79PUQhdg"/>
</p:tagLst>
</file>

<file path=ppt/tags/tag1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3CKdIS24pcvR4_zoddfQ"/>
</p:tagLst>
</file>

<file path=ppt/tags/tag1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E.ClIQ0YyF_8KDqp1q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sJgQTp87QEMksf0QikA"/>
</p:tagLst>
</file>

<file path=ppt/tags/tag1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teVgv5138A.4IJmhFAnw"/>
</p:tagLst>
</file>

<file path=ppt/tags/tag1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AnTDj4hRW6WM2AvPMcTA"/>
</p:tagLst>
</file>

<file path=ppt/tags/tag1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AjqjiqhoSUaTeod3wRA"/>
</p:tagLst>
</file>

<file path=ppt/tags/tag1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7wSSur9u3yOJ4rJCU8A"/>
</p:tagLst>
</file>

<file path=ppt/tags/tag1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GopEBi9dpsBnswH8Hhg"/>
</p:tagLst>
</file>

<file path=ppt/tags/tag1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dWp68HKNh2A.BR0r1uA"/>
</p:tagLst>
</file>

<file path=ppt/tags/tag1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CRe__TUyhfsRiR8z09Q"/>
</p:tagLst>
</file>

<file path=ppt/tags/tag1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g1fyHVDcYbCMPdQRmtIQ"/>
</p:tagLst>
</file>

<file path=ppt/tags/tag1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gAjnV_hg21SAf9HWA2aQ"/>
</p:tagLst>
</file>

<file path=ppt/tags/tag1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h52Qw4XL.ZBuytRIsu3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qYuV.F0eI7EeXk9.EV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kRK3f98jiMhj6OLOLdBw"/>
</p:tagLst>
</file>

<file path=ppt/tags/tag20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w.Rjhw3Zogc3bFer.3w"/>
</p:tagLst>
</file>

<file path=ppt/tags/tag20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Ji6uME87Rhs231zZRnQ"/>
</p:tagLst>
</file>

<file path=ppt/tags/tag20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3pwaa3HLdKXd6e_YmQDQ"/>
</p:tagLst>
</file>

<file path=ppt/tags/tag20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cZF8OGhJ3DtocVI1xsSw"/>
</p:tagLst>
</file>

<file path=ppt/tags/tag20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jfCNAc3AGcJzAY16wRw"/>
</p:tagLst>
</file>

<file path=ppt/tags/tag20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tBBx65tlUXN3YzR8krlw"/>
</p:tagLst>
</file>

<file path=ppt/tags/tag20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fkC8gP0PaMggTU9qKbsg"/>
</p:tagLst>
</file>

<file path=ppt/tags/tag20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Cx17L4SgT12JbXusc5A"/>
</p:tagLst>
</file>

<file path=ppt/tags/tag20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opH56a3PIMEGvVZE5QQ"/>
</p:tagLst>
</file>

<file path=ppt/tags/tag20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30F_.ahJJDTWZsFhk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ORnnp1Vv8Yi7e4dMGT9Q"/>
</p:tagLst>
</file>

<file path=ppt/tags/tag20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lqRGHrkr5PyqnommAGw"/>
</p:tagLst>
</file>

<file path=ppt/tags/tag20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jJxbyBs3J5T2KUF07Hwg"/>
</p:tagLst>
</file>

<file path=ppt/tags/tag20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DTv83LadeLqjxPjWEMhQ"/>
</p:tagLst>
</file>

<file path=ppt/tags/tag20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CFQmoLNOMAv492qEU.w"/>
</p:tagLst>
</file>

<file path=ppt/tags/tag20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2nlhC7haC4zsZIxu4Dw"/>
</p:tagLst>
</file>

<file path=ppt/tags/tag20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ISlIp9.ohZGG1iAgO1Q"/>
</p:tagLst>
</file>

<file path=ppt/tags/tag20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tLIsQSj6f79NiOhmF7yA"/>
</p:tagLst>
</file>

<file path=ppt/tags/tag20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k2yOk4nVzwJotSACuCQ"/>
</p:tagLst>
</file>

<file path=ppt/tags/tag20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7dCPLIZsse3sS.sFnVXA"/>
</p:tagLst>
</file>

<file path=ppt/tags/tag20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ugZhjPDdRLSMdV.fvj1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asoDqHbcAck2RizH...Q"/>
</p:tagLst>
</file>

<file path=ppt/tags/tag20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5J7B0_ejGSzbUpECHLw"/>
</p:tagLst>
</file>

<file path=ppt/tags/tag20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CMYqiq2J_Nwof0g.JFw"/>
</p:tagLst>
</file>

<file path=ppt/tags/tag20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ZCMXPSkqae7zEHuzkNw"/>
</p:tagLst>
</file>

<file path=ppt/tags/tag20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8pZ6ENwKpA_tujZQjWg"/>
</p:tagLst>
</file>

<file path=ppt/tags/tag20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zrgvUX5g.l6MebumXmQ"/>
</p:tagLst>
</file>

<file path=ppt/tags/tag20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P5jSiwyl4kn0ScMHyllQ"/>
</p:tagLst>
</file>

<file path=ppt/tags/tag20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520nax_qBF46qXkY74eg"/>
</p:tagLst>
</file>

<file path=ppt/tags/tag20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1ssEcBFJSnP_cSYejT0Q"/>
</p:tagLst>
</file>

<file path=ppt/tags/tag20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RkrhozSRcJg3Vba7H9A"/>
</p:tagLst>
</file>

<file path=ppt/tags/tag20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L.F8p2oLV_bcI3PXL2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Y2WO55uihg.X78XTWPw"/>
</p:tagLst>
</file>

<file path=ppt/tags/tag20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tjeW698fJZbc.KRho3g"/>
</p:tagLst>
</file>

<file path=ppt/tags/tag20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mydm_btJiVDPbBUjEXg"/>
</p:tagLst>
</file>

<file path=ppt/tags/tag20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aSdfprAVbJkPbR6N_qmQ"/>
</p:tagLst>
</file>

<file path=ppt/tags/tag20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vqlBT1C17F3Do3KcCBRA"/>
</p:tagLst>
</file>

<file path=ppt/tags/tag20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VnHcNLviuQPWz.5OJHw"/>
</p:tagLst>
</file>

<file path=ppt/tags/tag20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_igIxplElH89ZiWIarjA"/>
</p:tagLst>
</file>

<file path=ppt/tags/tag20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tFtInOdTmEeQf7.P5kg"/>
</p:tagLst>
</file>

<file path=ppt/tags/tag20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m26ZCW38oDHroOGN4xA"/>
</p:tagLst>
</file>

<file path=ppt/tags/tag20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yoWKlak3GenWiLfg7jg"/>
</p:tagLst>
</file>

<file path=ppt/tags/tag20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BpIdsVmi4MdWyYnhq4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rEwBBf6Pdi1hwohOiq6Q"/>
</p:tagLst>
</file>

<file path=ppt/tags/tag20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RYm0PMKZQuf1K5GLf1A"/>
</p:tagLst>
</file>

<file path=ppt/tags/tag20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7hKJ1KqCQli3l0TfL5Q"/>
</p:tagLst>
</file>

<file path=ppt/tags/tag20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_rTk6v.H7bzW_2wZ2uA"/>
</p:tagLst>
</file>

<file path=ppt/tags/tag20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T.ZXkgRsMY.DgKVTaaQ"/>
</p:tagLst>
</file>

<file path=ppt/tags/tag20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NbtnPnpiPnzSTg_Z.Bw"/>
</p:tagLst>
</file>

<file path=ppt/tags/tag20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xjF6s9D3la28ZZZU8osQ"/>
</p:tagLst>
</file>

<file path=ppt/tags/tag20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Lpztl2xXalR6XAjG67Q"/>
</p:tagLst>
</file>

<file path=ppt/tags/tag20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3uCG1.pB3H0YWzbLktEA"/>
</p:tagLst>
</file>

<file path=ppt/tags/tag20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EvnSOOtgom6lssBz4xQg"/>
</p:tagLst>
</file>

<file path=ppt/tags/tag20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61dwj3SNAY6PcYmlaHL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48x7v8roSOISM.Cvz2zQ"/>
</p:tagLst>
</file>

<file path=ppt/tags/tag20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eBVTX5QxDei7QFMjAgbg"/>
</p:tagLst>
</file>

<file path=ppt/tags/tag20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591Jm39AWPcuAFSHjnQA"/>
</p:tagLst>
</file>

<file path=ppt/tags/tag20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UdoSc8adUEfcnTyHdcrA"/>
</p:tagLst>
</file>

<file path=ppt/tags/tag20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Z1oDPh.X8PC.coLOFKpQ"/>
</p:tagLst>
</file>

<file path=ppt/tags/tag20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0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0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jdfoFKhkPkzneyO_B3A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bPZVTQlYrANXf27avZnw"/>
</p:tagLst>
</file>

<file path=ppt/tags/tag20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OxonlD8E33Ub3WnNNYIw"/>
</p:tagLst>
</file>

<file path=ppt/tags/tag20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fNK0kwo.bwXSA2qs2m43Q"/>
</p:tagLst>
</file>

<file path=ppt/tags/tag20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iWJ1nvsDrFe3Ei.Lq5Nw"/>
</p:tagLst>
</file>

<file path=ppt/tags/tag20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LzEfZB2Lu9I47_RoCkcw"/>
</p:tagLst>
</file>

<file path=ppt/tags/tag20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BGptoSCxf_2P4GU07q6A"/>
</p:tagLst>
</file>

<file path=ppt/tags/tag20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TkCHa7OtV81HQe4os.JRg"/>
</p:tagLst>
</file>

<file path=ppt/tags/tag20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hmVD2Rjmyp.aa3_TIywg"/>
</p:tagLst>
</file>

<file path=ppt/tags/tag20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cM4Olc_ra9zAa95duzlg"/>
</p:tagLst>
</file>

<file path=ppt/tags/tag20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f9xLDgMaaGBPHL4B5Ivg"/>
</p:tagLst>
</file>

<file path=ppt/tags/tag20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Vg7vLmReizvvDq3ss0Q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AInhH8pGMphgEwdz0H0w"/>
</p:tagLst>
</file>

<file path=ppt/tags/tag20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.qsH8W3qp1W6njW8nc5ug"/>
</p:tagLst>
</file>

<file path=ppt/tags/tag20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4iU_Y7Z4zYJcVsXpWy2g"/>
</p:tagLst>
</file>

<file path=ppt/tags/tag20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T3GKEa21Voo8YEmdTsjQ"/>
</p:tagLst>
</file>

<file path=ppt/tags/tag20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J73hqty5WCKIOUYdM2Tw"/>
</p:tagLst>
</file>

<file path=ppt/tags/tag20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6rmu.4TyuM_X08CeQdw"/>
</p:tagLst>
</file>

<file path=ppt/tags/tag20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vNMTkmwg2jfDGvIcWIxA"/>
</p:tagLst>
</file>

<file path=ppt/tags/tag20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AcaOkQUeX7DBZ8hv1IaQ"/>
</p:tagLst>
</file>

<file path=ppt/tags/tag20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Uki.y9n8TTIoT7VkVY1Q"/>
</p:tagLst>
</file>

<file path=ppt/tags/tag20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KLdOcOY0FAS2OJIMk3tOA"/>
</p:tagLst>
</file>

<file path=ppt/tags/tag20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sZVoQ8ct4YrKfp_Yf9CA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uVI0zJ3IYEUlVqnAIJhg"/>
</p:tagLst>
</file>

<file path=ppt/tags/tag20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WlJ7P0lDHew17Fmehpyw"/>
</p:tagLst>
</file>

<file path=ppt/tags/tag20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f1E7i.XB6QZu79PUQhdg"/>
</p:tagLst>
</file>

<file path=ppt/tags/tag20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3CKdIS24pcvR4_zoddfQ"/>
</p:tagLst>
</file>

<file path=ppt/tags/tag20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eE.ClIQ0YyF_8KDqp1qg"/>
</p:tagLst>
</file>

<file path=ppt/tags/tag20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teVgv5138A.4IJmhFAnw"/>
</p:tagLst>
</file>

<file path=ppt/tags/tag20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AnTDj4hRW6WM2AvPMcTA"/>
</p:tagLst>
</file>

<file path=ppt/tags/tag20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NAjqjiqhoSUaTeod3wRA"/>
</p:tagLst>
</file>

<file path=ppt/tags/tag20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i7wSSur9u3yOJ4rJCU8A"/>
</p:tagLst>
</file>

<file path=ppt/tags/tag20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VGopEBi9dpsBnswH8Hhg"/>
</p:tagLst>
</file>

<file path=ppt/tags/tag20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0dWp68HKNh2A.BR0r1u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XxzBr.UX2vghTcczkvA"/>
</p:tagLst>
</file>

<file path=ppt/tags/tag20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1WCRe__TUyhfsRiR8z09Q"/>
</p:tagLst>
</file>

<file path=ppt/tags/tag20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g1fyHVDcYbCMPdQRmtIQ"/>
</p:tagLst>
</file>

<file path=ppt/tags/tag20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Lh52Qw4XL.ZBuytRIsu3g"/>
</p:tagLst>
</file>

<file path=ppt/tags/tag20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gAjnV_hg21SAf9HWA2aQ"/>
</p:tagLst>
</file>

<file path=ppt/tags/tag20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mw.Rjhw3Zogc3bFer.3w"/>
</p:tagLst>
</file>

<file path=ppt/tags/tag20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4yJi6uME87Rhs231zZRnQ"/>
</p:tagLst>
</file>

<file path=ppt/tags/tag20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83pwaa3HLdKXd6e_YmQDQ"/>
</p:tagLst>
</file>

<file path=ppt/tags/tag20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sXwIFePquh52HbEX4r1A"/>
</p:tagLst>
</file>

<file path=ppt/tags/tag20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Hsx6FV9befs4q6SzAaGQ"/>
</p:tagLst>
</file>

<file path=ppt/tags/tag20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0zg4eQD77xG6G7QpUoC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JBbLaV4tf.rKTgTqmEYA"/>
</p:tagLst>
</file>

<file path=ppt/tags/tag2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z7hKJ1KqCQli3l0TfL5Q"/>
</p:tagLst>
</file>

<file path=ppt/tags/tag2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ejfCNAc3AGcJzAY16wRw"/>
</p:tagLst>
</file>

<file path=ppt/tags/tag2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3tBBx65tlUXN3YzR8krlw"/>
</p:tagLst>
</file>

<file path=ppt/tags/tag2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fkC8gP0PaMggTU9qKbsg"/>
</p:tagLst>
</file>

<file path=ppt/tags/tag2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SCx17L4SgT12JbXusc5A"/>
</p:tagLst>
</file>

<file path=ppt/tags/tag2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fopH56a3PIMEGvVZE5QQ"/>
</p:tagLst>
</file>

<file path=ppt/tags/tag2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EvnSOOtgom6lssBz4xQg"/>
</p:tagLst>
</file>

<file path=ppt/tags/tag2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5NbtnPnpiPnzSTg_Z.Bw"/>
</p:tagLst>
</file>

<file path=ppt/tags/tag2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1T.ZXkgRsMY.DgKVTaaQ"/>
</p:tagLst>
</file>

<file path=ppt/tags/tag2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hFISlIp9.ohZGG1iAgO1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whaEhoc3uTp.2AYigkA"/>
</p:tagLst>
</file>

<file path=ppt/tags/tag2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tLIsQSj6f79NiOhmF7yA"/>
</p:tagLst>
</file>

<file path=ppt/tags/tag2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ljJxbyBs3J5T2KUF07Hwg"/>
</p:tagLst>
</file>

<file path=ppt/tags/tag2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O7dCPLIZsse3sS.sFnVXA"/>
</p:tagLst>
</file>

<file path=ppt/tags/tag2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ugZhjPDdRLSMdV.fvj1A"/>
</p:tagLst>
</file>

<file path=ppt/tags/tag2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J5J7B0_ejGSzbUpECHLw"/>
</p:tagLst>
</file>

<file path=ppt/tags/tag2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eCMYqiq2J_Nwof0g.JFw"/>
</p:tagLst>
</file>

<file path=ppt/tags/tag2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dn_rTk6v.H7bzW_2wZ2uA"/>
</p:tagLst>
</file>

<file path=ppt/tags/tag2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jK30F_.ahJJDTWZsFhkw"/>
</p:tagLst>
</file>

<file path=ppt/tags/tag2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zrgvUX5g.l6MebumXmQ"/>
</p:tagLst>
</file>

<file path=ppt/tags/tag2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P5jSiwyl4kn0ScMHyllQ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4iCocgSgMXnO.5wcXQzA"/>
</p:tagLst>
</file>

<file path=ppt/tags/tag2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mlqRGHrkr5PyqnommAGw"/>
</p:tagLst>
</file>

<file path=ppt/tags/tag2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CFQmoLNOMAv492qEU.w"/>
</p:tagLst>
</file>

<file path=ppt/tags/tag2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RkrhozSRcJg3Vba7H9A"/>
</p:tagLst>
</file>

<file path=ppt/tags/tag2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xL.F8p2oLV_bcI3PXL2w"/>
</p:tagLst>
</file>

<file path=ppt/tags/tag2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c2nlhC7haC4zsZIxu4Dw"/>
</p:tagLst>
</file>

<file path=ppt/tags/tag2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vZCMXPSkqae7zEHuzkNw"/>
</p:tagLst>
</file>

<file path=ppt/tags/tag2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CaSdfprAVbJkPbR6N_qmQ"/>
</p:tagLst>
</file>

<file path=ppt/tags/tag2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vqlBT1C17F3Do3KcCBRA"/>
</p:tagLst>
</file>

<file path=ppt/tags/tag2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V8pZ6ENwKpA_tujZQjWg"/>
</p:tagLst>
</file>

<file path=ppt/tags/tag2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_igIxplElH89ZiWIarj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ihKNLVBFEHyxhjBFOyg"/>
</p:tagLst>
</file>

<file path=ppt/tags/tag2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520nax_qBF46qXkY74eg"/>
</p:tagLst>
</file>

<file path=ppt/tags/tag2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wm26ZCW38oDHroOGN4xA"/>
</p:tagLst>
</file>

<file path=ppt/tags/tag2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ayoWKlak3GenWiLfg7jg"/>
</p:tagLst>
</file>

<file path=ppt/tags/tag2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S1ssEcBFJSnP_cSYejT0Q"/>
</p:tagLst>
</file>

<file path=ppt/tags/tag2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.UtjeW698fJZbc.KRho3g"/>
</p:tagLst>
</file>

<file path=ppt/tags/tag2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3uCG1.pB3H0YWzbLktEA"/>
</p:tagLst>
</file>

<file path=ppt/tags/tag2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Z1oDPh.X8PC.coLOFKpQ"/>
</p:tagLst>
</file>

<file path=ppt/tags/tag2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tDTv83LadeLqjxPjWEMhQ"/>
</p:tagLst>
</file>

<file path=ppt/tags/tag2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Vmydm_btJiVDPbBUjEXg"/>
</p:tagLst>
</file>

<file path=ppt/tags/tag2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VnHcNLviuQPWz.5OJH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2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xjF6s9D3la28ZZZU8osQ"/>
</p:tagLst>
</file>

<file path=ppt/tags/tag2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WRLpztl2xXalR6XAjG67Q"/>
</p:tagLst>
</file>

<file path=ppt/tags/tag2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Vk2yOk4nVzwJotSACuCQ"/>
</p:tagLst>
</file>

<file path=ppt/tags/tag2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gBpIdsVmi4MdWyYnhq4w"/>
</p:tagLst>
</file>

<file path=ppt/tags/tag2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rARYm0PMKZQuf1K5GLf1A"/>
</p:tagLst>
</file>

<file path=ppt/tags/tag2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61dwj3SNAY6PcYmlaHLA"/>
</p:tagLst>
</file>

<file path=ppt/tags/tag2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eBVTX5QxDei7QFMjAgbg"/>
</p:tagLst>
</file>

<file path=ppt/tags/tag2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591Jm39AWPcuAFSHjnQA"/>
</p:tagLst>
</file>

<file path=ppt/tags/tag2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UdoSc8adUEfcnTyHdcrA"/>
</p:tagLst>
</file>

<file path=ppt/tags/tag2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u96Lkv23SGEgCC_iE7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v13fnNkOmFrPmXFV3jXg"/>
</p:tagLst>
</file>

<file path=ppt/tags/tag2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4Y3psxVAR51FOuHzqZMPA"/>
</p:tagLst>
</file>

<file path=ppt/tags/tag2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faiS0wDHMaoXrcGzUTUQ"/>
</p:tagLst>
</file>

<file path=ppt/tags/tag2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TBAg7N8il0nrFJqRpeZUw"/>
</p:tagLst>
</file>

<file path=ppt/tags/tag2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I9KR43YFN.lUoXrj1.KA"/>
</p:tagLst>
</file>

<file path=ppt/tags/tag2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tFtInOdTmEeQf7.P5kg"/>
</p:tagLst>
</file>

<file path=ppt/tags/tag2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cQgamT_3B9yOEkXI2uw"/>
</p:tagLst>
</file>

<file path=ppt/tags/tag2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a4JSg_08xOPi.Ry5Efqg"/>
</p:tagLst>
</file>

<file path=ppt/tags/tag2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g8ejSfkGKTBMa1BmWVg"/>
</p:tagLst>
</file>

<file path=ppt/tags/tag2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rY_yqtXBd.OYcEFi0fEFw"/>
</p:tagLst>
</file>

<file path=ppt/tags/tag2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BBNkL9PONGX.fupaXPqg"/>
</p:tagLst>
</file>

<file path=ppt/tags/tag2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x.LTIY3aFqH4Pdkwf8OA"/>
</p:tagLst>
</file>

<file path=ppt/tags/tag2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qvBlXO3jj0dOnE2Y4P2Q"/>
</p:tagLst>
</file>

<file path=ppt/tags/tag2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RrTBmi80tjB_rUXlkADA"/>
</p:tagLst>
</file>

<file path=ppt/tags/tag2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mhZTsqo5afYeAhwm5iHA"/>
</p:tagLst>
</file>

<file path=ppt/tags/tag2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tXW1a1gHbVXLwI8qoAQ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5BZ8UySyTT03jAmbNqhg"/>
</p:tagLst>
</file>

<file path=ppt/tags/tag2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iwyMC1X5CeomG0hRjLuw"/>
</p:tagLst>
</file>

<file path=ppt/tags/tag2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WFGLxIDLOY7l2PjH9KdA"/>
</p:tagLst>
</file>

<file path=ppt/tags/tag2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m8rJqSBPsUOMWkQfGfA"/>
</p:tagLst>
</file>

<file path=ppt/tags/tag2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KrgueHtW0Ub8q4yDAZg"/>
</p:tagLst>
</file>

<file path=ppt/tags/tag2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v0ZteIp_gmcWFfvoU6Q"/>
</p:tagLst>
</file>

<file path=ppt/tags/tag2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O5JkAo1Zo1kCyE_xwrg"/>
</p:tagLst>
</file>

<file path=ppt/tags/tag2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C5ir62DKiSGUfGauUag"/>
</p:tagLst>
</file>

<file path=ppt/tags/tag2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vXos7JVyhyPfW0RTchQ"/>
</p:tagLst>
</file>

<file path=ppt/tags/tag2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wB3ck8qoMCEIDjirXCN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FrIugAd644PWD2HwOB.Q"/>
</p:tagLst>
</file>

<file path=ppt/tags/tag2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lLtLVJEG3abMxGz4goUhw"/>
</p:tagLst>
</file>

<file path=ppt/tags/tag2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heg24Yt7i5hCS2KNc74Q"/>
</p:tagLst>
</file>

<file path=ppt/tags/tag2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0FtTP3UJ64TFDU9.dNUw"/>
</p:tagLst>
</file>

<file path=ppt/tags/tag2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JvRLJa23tCI3SimpuTRA"/>
</p:tagLst>
</file>

<file path=ppt/tags/tag2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_BN2nHjmlb3uD8aMzccbA"/>
</p:tagLst>
</file>

<file path=ppt/tags/tag2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NPbymF5p92V3tFvWPseg"/>
</p:tagLst>
</file>

<file path=ppt/tags/tag2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zLljXntfxev_qEUP0T4w"/>
</p:tagLst>
</file>

<file path=ppt/tags/tag2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mfErRd5F8Stz4LR16_cw"/>
</p:tagLst>
</file>

<file path=ppt/tags/tag2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BBfpSOAlXrnKKMKHUXuXQ"/>
</p:tagLst>
</file>

<file path=ppt/tags/tag2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rtJ_vyGMpvszbAn2ukr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012SXDC6P2QYhJkbrFg"/>
</p:tagLst>
</file>

<file path=ppt/tags/tag2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HiuH.5KQP6VnvhXE78SQ"/>
</p:tagLst>
</file>

<file path=ppt/tags/tag2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tfeK1KqeOzlQvOtA8lUQ"/>
</p:tagLst>
</file>

<file path=ppt/tags/tag2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ZLAMz8Tkeu2NZG77l1EA"/>
</p:tagLst>
</file>

<file path=ppt/tags/tag2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a4JSg_08xOPi.Ry5Efqg"/>
</p:tagLst>
</file>

<file path=ppt/tags/tag2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Eg8ejSfkGKTBMa1BmWVg"/>
</p:tagLst>
</file>

<file path=ppt/tags/tag2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SO_5QKzJuUONsfxCDvy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pBzF17d6hTlNQYleQcUg"/>
</p:tagLst>
</file>

<file path=ppt/tags/tag2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7ghVDpt9eQFdTig2S7PA"/>
</p:tagLst>
</file>

<file path=ppt/tags/tag2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Ru1PnSZPXA1iBoI.namQ"/>
</p:tagLst>
</file>

<file path=ppt/tags/tag2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2mhZTsqo5afYeAhwm5iHA"/>
</p:tagLst>
</file>

<file path=ppt/tags/tag2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tXW1a1gHbVXLwI8qoAQA"/>
</p:tagLst>
</file>

<file path=ppt/tags/tag2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yiwyMC1X5CeomG0hRjLuw"/>
</p:tagLst>
</file>

<file path=ppt/tags/tag2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JDTNJ2ckQUB0bTzguPQ"/>
</p:tagLst>
</file>

<file path=ppt/tags/tag2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v.AN4FZca5.N4eXeKunQ"/>
</p:tagLst>
</file>

<file path=ppt/tags/tag2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CGRiafKBl.7An7p3d7wg"/>
</p:tagLst>
</file>

<file path=ppt/tags/tag2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C1W47BZiBwwR5KTZGOHg"/>
</p:tagLst>
</file>

<file path=ppt/tags/tag2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c2l3C0KV1yb7DEYg.rg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mKbWhu5bmsnTrfU4RFdA"/>
</p:tagLst>
</file>

<file path=ppt/tags/tag2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t28AestqYHo4gtkEdS4Q"/>
</p:tagLst>
</file>

<file path=ppt/tags/tag2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QXB1KXlEi2syJdH2yxPg"/>
</p:tagLst>
</file>

<file path=ppt/tags/tag2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WFGLxIDLOY7l2PjH9KdA"/>
</p:tagLst>
</file>

<file path=ppt/tags/tag2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TF_.Nok6PRX1s_BR1OYA"/>
</p:tagLst>
</file>

<file path=ppt/tags/tag2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KvYM27cRrwNbJR1gk5dg"/>
</p:tagLst>
</file>

<file path=ppt/tags/tag2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5mqfyJKEO36dGTauhmLg"/>
</p:tagLst>
</file>

<file path=ppt/tags/tag2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HkeuEHw1woRiqmdn5E_Q"/>
</p:tagLst>
</file>

<file path=ppt/tags/tag2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2b8qXB6FQbUAMC2kmJCg"/>
</p:tagLst>
</file>

<file path=ppt/tags/tag2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t1lmlOQ5N3A6y5.u2J7w"/>
</p:tagLst>
</file>

<file path=ppt/tags/tag2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bm8rJqSBPsUOMWkQfGf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56VBk6kFzvMFHPxExkbDw"/>
</p:tagLst>
</file>

<file path=ppt/tags/tag2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tKrgueHtW0Ub8q4yDAZg"/>
</p:tagLst>
</file>

<file path=ppt/tags/tag2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Kv0ZteIp_gmcWFfvoU6Q"/>
</p:tagLst>
</file>

<file path=ppt/tags/tag2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XO5JkAo1Zo1kCyE_xwrg"/>
</p:tagLst>
</file>

<file path=ppt/tags/tag2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C5ir62DKiSGUfGauUag"/>
</p:tagLst>
</file>

<file path=ppt/tags/tag2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bvXos7JVyhyPfW0RTchQ"/>
</p:tagLst>
</file>

<file path=ppt/tags/tag2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hvbTXoZpYdhOsR.r.5qA"/>
</p:tagLst>
</file>

<file path=ppt/tags/tag2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P4PdFn5EfwK_uastsF1g"/>
</p:tagLst>
</file>

<file path=ppt/tags/tag2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9rY2VCAv6GrSwkViZBS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2cbii1dOqtumkbWfmkzA"/>
</p:tagLst>
</file>

<file path=ppt/tags/tag2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M3BkGmKqgNzDmWvKQkGQ"/>
</p:tagLst>
</file>

<file path=ppt/tags/tag2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vqAsWvWjYB_DzAz2h2dw"/>
</p:tagLst>
</file>

<file path=ppt/tags/tag2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XjzMuu8a7c2inge0RT_IA"/>
</p:tagLst>
</file>

<file path=ppt/tags/tag2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WaxuGuy9o5auLGkiTR9w"/>
</p:tagLst>
</file>

<file path=ppt/tags/tag2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1YqgHcJDVeemAydbzwZTA"/>
</p:tagLst>
</file>

<file path=ppt/tags/tag2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5Z4rHuFF03C.uv2pkil4Q"/>
</p:tagLst>
</file>

<file path=ppt/tags/tag2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uq8ebnZRHUtRAyT.m.sg"/>
</p:tagLst>
</file>

<file path=ppt/tags/tag2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0Ox4qh0xaT2gvwZUORgg"/>
</p:tagLst>
</file>

<file path=ppt/tags/tag2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u8TlJs9ku4O_OFkDavRQ"/>
</p:tagLst>
</file>

<file path=ppt/tags/tag2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FIdDVoSVaaN2m5.G3ivQ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0n4GJY7hF8kpV7pnLKcA"/>
</p:tagLst>
</file>

<file path=ppt/tags/tag2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A5ulI0BvgKnjXVcC6d5Q"/>
</p:tagLst>
</file>

<file path=ppt/tags/tag2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2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1"/>
  <p:tag name="BTFPLAYOUTENABLED" val="0"/>
</p:tagLst>
</file>

<file path=ppt/tags/tag2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8m49.IHwar24riIAsac.w"/>
</p:tagLst>
</file>

<file path=ppt/tags/tag2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1LQTl33uX9wZ2nHOcdrw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FRaQot0XEjD0ja2U5qcA"/>
</p:tagLst>
</file>

<file path=ppt/tags/tag2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35Aym68tMXUUdS_6Cewg"/>
</p:tagLst>
</file>

<file path=ppt/tags/tag2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Ap.eZY7UG6dGvMo8_ASA"/>
</p:tagLst>
</file>

<file path=ppt/tags/tag2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Gf3m9af2fGTtUU8vsFKA"/>
</p:tagLst>
</file>

<file path=ppt/tags/tag2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TQIjcMiNxCSwU7EatXAA"/>
</p:tagLst>
</file>

<file path=ppt/tags/tag2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P01XR1GiJs.lhzE1qR3A"/>
</p:tagLst>
</file>

<file path=ppt/tags/tag2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mhRNMS9TvtyygB2h2D.Q"/>
</p:tagLst>
</file>

<file path=ppt/tags/tag2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Rt5osiSbMhqCiq7_rzmQ"/>
</p:tagLst>
</file>

<file path=ppt/tags/tag2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iz4pHgRDcjH4JAHcExOQ"/>
</p:tagLst>
</file>

<file path=ppt/tags/tag2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NUMngMZYvgxgzanLQy.A"/>
</p:tagLst>
</file>

<file path=ppt/tags/tag2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q0g.qWpjkoCb1z8t737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ZiWT_isYyT.J97S4plXA"/>
</p:tagLst>
</file>

<file path=ppt/tags/tag2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tHnZoGn4eHJWzfhQ6hCA"/>
</p:tagLst>
</file>

<file path=ppt/tags/tag2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Lqqqs37ORWI7POI8Ty.A"/>
</p:tagLst>
</file>

<file path=ppt/tags/tag2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gg.lQEl8DeRlNvwD8dhQ"/>
</p:tagLst>
</file>

<file path=ppt/tags/tag2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iMNXpuWUYyY.RBiqCuZeQ"/>
</p:tagLst>
</file>

<file path=ppt/tags/tag2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VmFJNM020l.OLJEDLqlA"/>
</p:tagLst>
</file>

<file path=ppt/tags/tag2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pOPm4jtWEmLlG8JNmlvg"/>
</p:tagLst>
</file>

<file path=ppt/tags/tag2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2GyOdMIebyEBZF1DorKA"/>
</p:tagLst>
</file>

<file path=ppt/tags/tag2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KjlrUKKXRdfsOz.OvlXuw"/>
</p:tagLst>
</file>

<file path=ppt/tags/tag2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VnyV8xEbsQJoYbspxWQ"/>
</p:tagLst>
</file>

<file path=ppt/tags/tag2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hlzvSXdfbZw5Cbdac2c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2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95E1BOKN_IyiuMYoOqdwA"/>
</p:tagLst>
</file>

<file path=ppt/tags/tag2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8gUJ9bdfmhHflFjfp4Ag"/>
</p:tagLst>
</file>

<file path=ppt/tags/tag2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rlgUSwDxr05BiaGk0487Q"/>
</p:tagLst>
</file>

<file path=ppt/tags/tag2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Ef.JnY.eHKdE7F112ebw"/>
</p:tagLst>
</file>

<file path=ppt/tags/tag2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.a_CzOo6fafAFNaYBIpQ"/>
</p:tagLst>
</file>

<file path=ppt/tags/tag2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4sBxkyhOOdQd1s.3ZReQ"/>
</p:tagLst>
</file>

<file path=ppt/tags/tag2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1dfKyp2b4cyLpdoZ_NQ"/>
</p:tagLst>
</file>

<file path=ppt/tags/tag2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WHtKam0WauF4PBhrUoXw"/>
</p:tagLst>
</file>

<file path=ppt/tags/tag2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eXuv.ATe4RYs6EslmSDQ"/>
</p:tagLst>
</file>

<file path=ppt/tags/tag2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klE5qGfFpYG0Siyg.zE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2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Hn2me85al26jcIXDtoJA"/>
</p:tagLst>
</file>

<file path=ppt/tags/tag2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sH_i_noyO7HNESHTeydw"/>
</p:tagLst>
</file>

<file path=ppt/tags/tag2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x8CIMjIF7Jfk2AimF.Ig"/>
</p:tagLst>
</file>

<file path=ppt/tags/tag2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  <p:tag name="BTFPLAYOUTCOLUMNS" val="1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1ANwWd0yMaH3a10aIZ0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ddMMF9Kv_eYhUXv._cI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N06S5PK0I2J9zeusll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79NPvUSL.hUpRsFcJBw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czvwII9Dhcl9YVgsKfT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TTq1h9WxBN8SUOhboE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JYhYywoiZTusAE1B5YM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JC5RLMn6hsDJHBdOu_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8mRv5MmVN04H8vVhJfd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I_jDHBGOQuWJNgcwQ_V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57bXzr_CtozUgYKT4L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ncqFprsSLu1JrQvaAYg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XEQCW.6CxH7TmUwB5z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Qn_oCnRznPM4dVg6SiE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aFjPt5JlOcloT._veV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7VaRWA64uYiqIOJ7A7Y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cwspfz0q1Jg2UUgzN3R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bTEYawSen6xCPyrd7P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mKbWhu5bmsnTrfU4RFd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4LwgFX3lHLnNoPRuKuSg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RKWFZFpqG9AkHb_oPgZ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P3wmwQyu_sRYugs1br0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39TkCJKAgfKh2pd714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2snManCvw0Kx8gapYy.9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qqYuV.F0eI7EeXk9.EV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8LM_0B54Kn.EBYfm60d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HBFgNEJOFTZt8E65S6U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beGtgjeUDiKDg5r5cK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O2e.fiKRQTJV9dO7G3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2KfpOR7JCDmN2T4UpLG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GG03ZT5pHo0jVOFl1O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LW.E2FLzJ_xcl0HPQ.h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uEGwM60J4DdqyewFgR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sJgQTp87QEMksf0QikA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48x7v8roSOISM.Cvz2z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whaEhoc3uTp.2AYigk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BVqk9HKhNcxwAfhKaV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ddMMF9Kv_eYhUXv._cI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N06S5PK0I2J9zeusll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79NPvUSL.hUpRsFcJB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czvwII9Dhcl9YVgsKfT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TTq1h9WxBN8SUOhboE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LNf94vzgg5JV_8SOCc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mCQHkKLcyVcBZ4HOM49w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V33qFD.5qjErhjAfitK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NJ6nMBYwHxtEHBql3jr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ThhzXTXxZL.dR4u_0yS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5bPmYZOvVvV3OBs7.LTL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G8LM_0B54Kn.EBYfm60d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HBFgNEJOFTZt8E65S6U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0"/>
  <p:tag name="BTFPLAYOUTCOLUMNS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Y2WO55uihg.X78XTWP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IbeGtgjeUDiKDg5r5cK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7O2e.fiKRQTJV9dO7G3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mKbWhu5bmsnTrfU4RFdA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2KfpOR7JCDmN2T4UpLG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zGG03ZT5pHo0jVOFl1O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LLuEGwM60J4DdqyewFgR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TsJgQTp87QEMksf0Qik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Y2WO55uihg.X78XTWP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48x7v8roSOISM.Cvz2z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XxzBr.UX2vghTcczkv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Q9mm7EJ5P.xf7JJ5ckb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76whaEhoc3uTp.2AYig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v13fnNkOmFrPmXFV3jXg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FcQgamT_3B9yOEkXI2u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5BZ8UySyTT03jAmbNqh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FrIugAd644PWD2HwOB.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9012SXDC6P2QYhJkbrF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3jeJ.WONfaIwKWzJf_c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ddMMF9Kv_eYhUXv._cI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rN06S5PK0I2J9zeusllg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X79NPvUSL.hUpRsFcJB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EczvwII9Dhcl9YVgsKfTg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LTTq1h9WxBN8SUOhboE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JYhYywoiZTusAE1B5YM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JC5RLMn6hsDJHBdOu_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XxzBr.UX2vghTcczkv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I_jDHBGOQuWJNgcwQ_V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57bXzr_CtozUgYKT4L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ncqFprsSLu1JrQvaAY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XEQCW.6CxH7TmUwB5z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JeX3P60wnjGUax5yBlH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3Ug5N3jZ5ZuhvWNoDP8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TjvFb5rbG9.7bPLn4Be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TSPe0zse6iesQ5xkzW5w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.NcqwAQf1jm6kn_sFFx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IDE2sOgp9hQAEvrfz11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zaICFIAD5SdbJkCAB9Gw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psFWKGZSHS0zqZ.hA.B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0wbudmpZ3Q7MsRDQ2F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n_9.h1i6tAH8PPfI0Qc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hpIVcem87Sd8VAn5V4T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xXZdfzIVaBQ5edtLTXI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sxVhcpTR1rYEWQ0RpIu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8dA3DbeD6246jZXhyL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IlRBTA9.dU.815Urmt.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Z9OCi9BeRS1CAW2SANqg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ITjrW.1ejdPZ8jLu_3Q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He.0sv.UA..oj0CfoD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0tZHX0cDZ_YsCMuyX0U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9kJY44CEf7xttxZZDz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ZNpW7a8jtdiNspquJQ_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MlWvP3pr7.SP.jPu9Fg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AVXI1txT3oCeeqVL0N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eNNIJmgWOxkvoE5ok_g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87n71eSNPHHdqWPCsd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.6A03ixC0yK95oVo390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yguuPmcSLsHk9QSJty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RfECwqH9WBXgyy1VdZg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VWgTkjMbVujD2QecU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ID4aU8t4n2codZf2oBU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AaPcg2YC_SqU_U443Hw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TCTJ2fc0M2BzIyU2hi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dHIp.7gTN4S2BXawK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HlDCemZ8TuEmYaWeb63Q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T0GeMDOu_rMcsim.6Sp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cWzr90.G.rIIfXg2TJQ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LJIxjlOxxml3namjwGQ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oiJb87S_idNv1hUZUxt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ZqUi9rXL.ysD9JxhhYj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0AP_Ju3pPckrrE56Typ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LcTc11HfZR3XbuLMX3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rlDMg2UlYOfZ98_592B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8MYT.NiwGB3CcO4bkr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BI9SuSBq3.FsfoXnKH0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S.Er6mnYd3vpMM25jLQ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xV.BGDK1TGInnaUTeUoA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hDBl5xywV9UmmtNL51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GRWaMA4SvOcBHAm4WbA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JYhYywoiZTusAE1B5YMw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_WdDteZTF3KJdpMrQvQ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12Al8Zclr.76r6ypmMhQ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7IWajnR6OR5sc0LCFzvA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zZKn0oywuBTN8rylbSkw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BVkkEby_ZBDCFBzPvyg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ELgz1z7fXjLKKWmxkcQ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hoCkWVlqx4P9Zt5rX1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vLR405DQRAx1FFSAxYB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IhlrrvNclP8Zmp3fVpb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l1AdcgKWu8yjJItKI3W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GJC5RLMn6hsDJHBdOu_Q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I_jDHBGOQuWJNgcwQ_V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x57bXzr_CtozUgYKT4L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uGncqFprsSLu1JrQvaAY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5tmDW8C9KyywyVzBoug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QH2z5NJEoUTlVZq2Mz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SHfKOxCSMxc3RMJ3bz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qQcu3h8sZzAkPslDwkk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qyTT3wG80NoULiwr4n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C1fSS0304Sfm5Z9Cl72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xHTqDLH7GaoqaCEul.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vXEQCW.6CxH7TmUwB5zw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uGcyTSnIVd0p9.dwZTw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4gLI6Z.P4o.LkO5Mnb.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lY41S1HfabUi4q9T8w6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egU9_k_qk1zQTjPcan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giBne4RmD_lcbWKsoM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THruSmz0qsfj1vYojt9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FVAo1cNQp4.p0H_4Q4s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HYTyH5tjWJAlrdksDx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2YV.hYglGAyO79s4tqU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6IOuzMR79nbwaoiMhSX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2lfXuLk5hPvKl_fG3mg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CmVzy6rswUbCLT9mKvA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CPfXj2Ybahu460a_cE9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YrI0I0L8bRTmJ3aV1za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2"/>
  <p:tag name="BTFPLAYOUTENAB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P.FwmSouknEaquaaBL1w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eZjKtEitYx7ty4yanaZ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Msm9BA_G6IR8LP3tGmg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wPenxNsapr5kaPXxV00A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BG3iXtV.qqXhiTw6TjZd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II8.0YjRTivcxVisspaw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caDeesp9l3ye5ysO1Jb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MhKafF7Yy2PyeGIl2VA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WKTPvxF.eFNcji6PKAxg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50wFIg_u_RYIcyGi63aag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QqYu91JLXq6Ky3KQUc6P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U4lYp2zsBihpHCvJJWia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kA0FEpzE4cpYqQjf0kX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PQniKwc.NJrJXno64ok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MrMFTBTo0GIsIAQls6Jl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vju1f.NaAos6OGwujIHw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TuRC_7f_P89rGD3xkwR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F4yU6rByu4c_VMcf8UQ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KCCQ_iWyP_tj7YV3Xwsw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Fkj1_JukZaQ0ihc350ZQ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AiN8LiqLBtvq1tjGE8fg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z1c9Bl6jQBViBIwwuj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EDiiqpbBj7xOj1nvMfJQ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NAAVi53GDd9_EBHOqcXQ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qsOlhS6UIj0oOlSJF6X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l8qPWl7TPnmKiHK38LUo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KHxgS9Kut0JeTGAW.Oxxg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Ya.WHl74XaNPusg3Vpq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SPf1n_GqFzaK0mCgi8p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nUE1_RCX2vjGySvMZAw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qR1dImFOwAi8KJxv0SV2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h9k.RoZDWnKTlcf3o5G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0CEQQcKO1w87ofYp8wvw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W9Adv8KrirS30jTTEdw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7cgzRa7aHxsaMVnOR0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saj9o_eWo0zEnOzp9v4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3nbTxAFXJzc6bQ60_p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ec0lEYJEajp_vpcfZbU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txRnLz.e4bnwaSc7HPTQ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74kGs8xAWmeb.KLpkq_ew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5wghdGQLaq70M1wGk7ZnQ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Obd4vm4LXJSwKM7iLaA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AZAmLFBbrb_YyfGG0di1Q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2qQATHsDA9StqJaraeWu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pSabtg7kyCi_aVY8UDH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JcBTCZltUSwlwe.eVqh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7UrXO4m4XZWzt4PRR6UrQ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uYsN1uD1PqNsS6kNt3f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IC8GaSGMCXOgQf94qG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4S6rMvwq8UZhFGOO4bL5Q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iMZZ3QfpeT5BqxhwSg0Q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9gYF1Jj2mzW0CvuSbTQNQ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EMI0uNCLs6THsAhu9Z33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lauFrzu.DfW2QylnUEhw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aCGOVQJ7rvr35m2BW3CQ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5lbISSQ1Q9v0MZf.3O9w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xLjgqEhMkTXlxh8c1WA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tDcXdxkWZXwPEGtXz19U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qHyKXMIl3p7vTluhoHYv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X9z7t8N8tusqrO1GJK7A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9ma.o96AskgAif8T8keA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g2Zvztrn8KzXFErRH15Q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FC4.ClstfgibnCEqertw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BdVaGUJb7tJm7Ts2vJuw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TRglGo5oC.TAoOkB.4g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D9NMaJvXXx.gtT_fTqA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Ylva18127kQ0Izfi_fF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HjBVD4NYE1pBMpp4aGcg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o5t1me_j7aabsTY4XeEw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JeSwAHSMp5OfeWp2O65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Y.5peDmHM9pSCh5nJd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bM3GSuknhd3ZcCJvlkMg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aW6Ii6NiV288i7EvBuhA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EoBWvlHgWt..wp5Q7tV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PSgilfBCIBLm5NHOq5gt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GHaSY0GOP.iNPsIHUNnA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45cWyZZbDqWJV7KIyXag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uPiMEXe7EGhmGXcr2LzA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LHNwZsHGtZgBxHXYqAhA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6pPq1kj5cyEQNJeqAAxQ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Y0FW2SVaEuWUwuM5rj57w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CCFyd4AuZHYMVbMxQ24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1ANwWd0yMaH3a10aIZ0w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5fsAuRE_DMgMFu2FmVVA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aTP__2.F_B6Pr755YWwPA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WlQ9PqcztPZN9ZI5z4lA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lKp2.VszCtQmattsspzKw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0zdECGy1khxHd3LO1rOQ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_A1B_B7utWJwwxn_rkuw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NHnmrooSs9HLetNHGhmg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fQXyIkBglHWo.dUDOhU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NjigaO4A.wVwVxhdwErw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m1xUf7kNtrxO9NJgjdb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VZEZ.fm51ex40PBihxM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DJiJI_GXBuRwCX8Ay_bA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0YCztBTqTnb5fbNuakUg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1Lum3.PrLcNjKe0lbhA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RGHdClX_6ZW1MmF_E3A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8mRv5MmVN04H8vVhJfdQ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H9k43clJAsnK6G4y7mKg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jknuxnj082joeBFQ0TQw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yZ23.kVqK4FsRVGooJ7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BURc_OFeYWiM7jyGCeEg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3CPHVrZNR5MN0uPInZcg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f8way.PgcIkh.6J0re2g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3mIHFSjNRrHSeGQpVKeQ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6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6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ZiWT_isYyT.J97S4plXA"/>
</p:tagLst>
</file>

<file path=ppt/tags/tag7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7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7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7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7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7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7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7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7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mKbWhu5bmsnTrfU4RFdA"/>
</p:tagLst>
</file>

<file path=ppt/tags/tag7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7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7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7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7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M44FioQ7A1VLfwup_w3A"/>
</p:tagLst>
</file>

<file path=ppt/tags/tag7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XjFRr9MCeDik_Lw.cFQ"/>
</p:tagLst>
</file>

<file path=ppt/tags/tag7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G7n9ia3_Uhz4HxjcVUhQ"/>
</p:tagLst>
</file>

<file path=ppt/tags/tag7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6adCw5CrYtwhNHmOuQ_A"/>
</p:tagLst>
</file>

<file path=ppt/tags/tag7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47l9n0qogIDfdT7wzC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9L__sjEJON6zGGtUAwhQ"/>
</p:tagLst>
</file>

<file path=ppt/tags/tag7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K6xtAPmtI1M7f0rWo8Stg"/>
</p:tagLst>
</file>

<file path=ppt/tags/tag7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dkrawx2ivGL5O5WlomfA"/>
</p:tagLst>
</file>

<file path=ppt/tags/tag7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ItXJdn6Er.70g8x77o4XQ"/>
</p:tagLst>
</file>

<file path=ppt/tags/tag7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6.sg.JilvDWfOar0GsY6g"/>
</p:tagLst>
</file>

<file path=ppt/tags/tag7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Csjit8RVaQTF3xbqCxDA"/>
</p:tagLst>
</file>

<file path=ppt/tags/tag7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jYRkd8tHS4l2zV1FWC1A"/>
</p:tagLst>
</file>

<file path=ppt/tags/tag7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rB4IXuM7e9.SOBnTe7DA"/>
</p:tagLst>
</file>

<file path=ppt/tags/tag7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T8VqSxtevHw9koNZksgw"/>
</p:tagLst>
</file>

<file path=ppt/tags/tag7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vEL9o0EoqvGes_pOAo1A"/>
</p:tagLst>
</file>

<file path=ppt/tags/tag7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Ui2DPCIrqb.SxyePMj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239TkCJKAgfKh2pd714Q"/>
</p:tagLst>
</file>

<file path=ppt/tags/tag7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j9PjJt8YMeXjRzj_eAJg"/>
</p:tagLst>
</file>

<file path=ppt/tags/tag7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7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7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7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7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wuLqjoYuxfFt6MAO3OhQA"/>
</p:tagLst>
</file>

<file path=ppt/tags/tag7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DiKFlhrwXoHRfdendU2w"/>
</p:tagLst>
</file>

<file path=ppt/tags/tag7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NCv6vDTXGvqnYJsD67aV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8Dl13IEY4QkKKGO1ta1w"/>
</p:tagLst>
</file>

<file path=ppt/tags/tag7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gbvWU5pmzz8b8Eu92.ew"/>
</p:tagLst>
</file>

<file path=ppt/tags/tag7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9H5zr4btXUn1DTRBU5ug"/>
</p:tagLst>
</file>

<file path=ppt/tags/tag7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oP5SHeP9Ytb9CC0W13mA"/>
</p:tagLst>
</file>

<file path=ppt/tags/tag7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TIjBidJ6_1jDcd1AyOmA"/>
</p:tagLst>
</file>

<file path=ppt/tags/tag7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2S_w1Qmm.psaUr1QIkEw"/>
</p:tagLst>
</file>

<file path=ppt/tags/tag7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k0wS7xqJGI_d1SKPtIwA"/>
</p:tagLst>
</file>

<file path=ppt/tags/tag7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p.kdz3AVey4wZkKkRRHkg"/>
</p:tagLst>
</file>

<file path=ppt/tags/tag7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.Ss2UVjMsGRbRYxVBoxA"/>
</p:tagLst>
</file>

<file path=ppt/tags/tag7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E_faFxNlgBG12rAmWDoQ"/>
</p:tagLst>
</file>

<file path=ppt/tags/tag7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MliV4AGQzngC3dsJUKe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LW.E2FLzJ_xcl0HPQ.hA"/>
</p:tagLst>
</file>

<file path=ppt/tags/tag7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4HUCEseNfWXQmoebEnj2Q"/>
</p:tagLst>
</file>

<file path=ppt/tags/tag7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kafY1fpHb9Pup7ALJvJA"/>
</p:tagLst>
</file>

<file path=ppt/tags/tag7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32zD9Ez9Wy2hBcUWcaGPQ"/>
</p:tagLst>
</file>

<file path=ppt/tags/tag7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tgdshnGLaaQEXZtSsjWVQ"/>
</p:tagLst>
</file>

<file path=ppt/tags/tag7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d1mirbNDERT37xWdX26g"/>
</p:tagLst>
</file>

<file path=ppt/tags/tag7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1D64kHG7GeIVOoLg8ThQ"/>
</p:tagLst>
</file>

<file path=ppt/tags/tag7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y79E1Gc6EPkKKYVTQNraQ"/>
</p:tagLst>
</file>

<file path=ppt/tags/tag7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0OL9CPSjYBGkVsSuoswxg"/>
</p:tagLst>
</file>

<file path=ppt/tags/tag7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eyXaLOEEiAYrIop_zYw"/>
</p:tagLst>
</file>

<file path=ppt/tags/tag7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6ZHdt8ael1QTZXUymRWR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rvii5TYs0lw5Zk3Uh8MQ"/>
</p:tagLst>
</file>

<file path=ppt/tags/tag7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wufP5BNK9_GeOrwRdSdg"/>
</p:tagLst>
</file>

<file path=ppt/tags/tag7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qf05jt5vxrtfK3BJ.ttw"/>
</p:tagLst>
</file>

<file path=ppt/tags/tag7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Mhk_nXYIxJ1LSI5Y6jIQ"/>
</p:tagLst>
</file>

<file path=ppt/tags/tag7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LQRhkzjl3__u9m.IE5yA"/>
</p:tagLst>
</file>

<file path=ppt/tags/tag7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2LIW8.GFjjQcclaewQ6A"/>
</p:tagLst>
</file>

<file path=ppt/tags/tag7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pZksRWU12XZcwVomqfsw"/>
</p:tagLst>
</file>

<file path=ppt/tags/tag7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Hs3dYRMcLUX7dW_YPu6w"/>
</p:tagLst>
</file>

<file path=ppt/tags/tag7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NyFBR9P3wtzREz_k7hew"/>
</p:tagLst>
</file>

<file path=ppt/tags/tag7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YGKnPqfjfKlR2y_uUHIw"/>
</p:tagLst>
</file>

<file path=ppt/tags/tag7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2N0oXpeTfWPOEZsPg1b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HJPLVbfpBr449LX2Tciw"/>
</p:tagLst>
</file>

<file path=ppt/tags/tag7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gK6GATUrg2W.M1Y911bA"/>
</p:tagLst>
</file>

<file path=ppt/tags/tag7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ioNEmviuFQYz40ss_S9fg"/>
</p:tagLst>
</file>

<file path=ppt/tags/tag7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QMNilvUhhEGkGlR9dKIQ"/>
</p:tagLst>
</file>

<file path=ppt/tags/tag7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7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7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7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7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7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7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04o2ClzYMOEvzIbO4ixg"/>
</p:tagLst>
</file>

<file path=ppt/tags/tag7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7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7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7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7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7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7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7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7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7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2cbii1dOqtumkbWfmkzA"/>
</p:tagLst>
</file>

<file path=ppt/tags/tag7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7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7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7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7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7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7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7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7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7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kBVqk9HKhNcxwAfhKaVg"/>
</p:tagLst>
</file>

<file path=ppt/tags/tag8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VcOKRdEXNaDWbl3J48nHA"/>
</p:tagLst>
</file>

<file path=ppt/tags/tag8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dlGRekmu43qQnJ8AykyQ"/>
</p:tagLst>
</file>

<file path=ppt/tags/tag8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.bmNy0CL.oanS_iuz8OQ"/>
</p:tagLst>
</file>

<file path=ppt/tags/tag8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SZv20T5tqKhk8NYA.xXw"/>
</p:tagLst>
</file>

<file path=ppt/tags/tag8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rJVL1IsGssgIg7Pse6Nqw"/>
</p:tagLst>
</file>

<file path=ppt/tags/tag8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8M.jg9dg6RhJmy9oJC9g"/>
</p:tagLst>
</file>

<file path=ppt/tags/tag8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WtUQ_xltOJxo7oPqrnfg"/>
</p:tagLst>
</file>

<file path=ppt/tags/tag8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_Six4zAfvmAMnGxDeN.XA"/>
</p:tagLst>
</file>

<file path=ppt/tags/tag8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L6WMN49uxYIwphETJdgZw"/>
</p:tagLst>
</file>

<file path=ppt/tags/tag8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QVFZ2Q3Fq2JQpIyv.L2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JeyVrb_XCT7Q_MrC0EWw"/>
</p:tagLst>
</file>

<file path=ppt/tags/tag8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IdrCH4zWiquYs77fyIdg"/>
</p:tagLst>
</file>

<file path=ppt/tags/tag8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XrMitUAgXQ9N3QyLGdIHw"/>
</p:tagLst>
</file>

<file path=ppt/tags/tag8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.TRgEOvf40xjycksSqAA"/>
</p:tagLst>
</file>

<file path=ppt/tags/tag8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hLxT4xwBOg0VDt9tVnkw"/>
</p:tagLst>
</file>

<file path=ppt/tags/tag8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xE7Yx4yqPechBQcfeoTA"/>
</p:tagLst>
</file>

<file path=ppt/tags/tag8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gE94eJSOc3OcDCMB_znQw"/>
</p:tagLst>
</file>

<file path=ppt/tags/tag8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8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GLNf94vzgg5JV_8SOCcg"/>
</p:tagLst>
</file>

<file path=ppt/tags/tag8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8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8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PpsFWKGZSHS0zqZ.hA.Bg"/>
</p:tagLst>
</file>

<file path=ppt/tags/tag8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G0wbudmpZ3Q7MsRDQ2Fw"/>
</p:tagLst>
</file>

<file path=ppt/tags/tag8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n_9.h1i6tAH8PPfI0Qcg"/>
</p:tagLst>
</file>

<file path=ppt/tags/tag8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xXZdfzIVaBQ5edtLTXIQ"/>
</p:tagLst>
</file>

<file path=ppt/tags/tag8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8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sxVhcpTR1rYEWQ0RpIug"/>
</p:tagLst>
</file>

<file path=ppt/tags/tag8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p8dA3DbeD6246jZXhyLQ"/>
</p:tagLst>
</file>

<file path=ppt/tags/tag8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IlRBTA9.dU.815Urmt.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suJrDAtLX5OP1u424ZIzQ"/>
</p:tagLst>
</file>

<file path=ppt/tags/tag8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8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8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8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8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8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8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8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8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8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ORnnp1Vv8Yi7e4dMGT9Q"/>
</p:tagLst>
</file>

<file path=ppt/tags/tag8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8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8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8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8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8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8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8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8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8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RasoDqHbcAck2RizH...Q"/>
</p:tagLst>
</file>

<file path=ppt/tags/tag8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8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8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8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8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8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8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8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8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8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NY2WO55uihg.X78XTWPw"/>
</p:tagLst>
</file>

<file path=ppt/tags/tag8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sZ9OCi9BeRS1CAW2SANqg"/>
</p:tagLst>
</file>

<file path=ppt/tags/tag8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ITjrW.1ejdPZ8jLu_3Qw"/>
</p:tagLst>
</file>

<file path=ppt/tags/tag8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uHe.0sv.UA..oj0CfoDQ"/>
</p:tagLst>
</file>

<file path=ppt/tags/tag8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0tZHX0cDZ_YsCMuyX0Uw"/>
</p:tagLst>
</file>

<file path=ppt/tags/tag8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F9kJY44CEf7xttxZZDzg"/>
</p:tagLst>
</file>

<file path=ppt/tags/tag8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uZNpW7a8jtdiNspquJQ_Q"/>
</p:tagLst>
</file>

<file path=ppt/tags/tag8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sMlWvP3pr7.SP.jPu9Fg"/>
</p:tagLst>
</file>

<file path=ppt/tags/tag8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oAVXI1txT3oCeeqVL0Ng"/>
</p:tagLst>
</file>

<file path=ppt/tags/tag8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eNNIJmgWOxkvoE5ok_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Q9mm7EJ5P.xf7JJ5ckbg"/>
</p:tagLst>
</file>

<file path=ppt/tags/tag8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v87n71eSNPHHdqWPCsdQ"/>
</p:tagLst>
</file>

<file path=ppt/tags/tag8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.6A03ixC0yK95oVo390A"/>
</p:tagLst>
</file>

<file path=ppt/tags/tag8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DyguuPmcSLsHk9QSJtyg"/>
</p:tagLst>
</file>

<file path=ppt/tags/tag8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lRfECwqH9WBXgyy1VdZg"/>
</p:tagLst>
</file>

<file path=ppt/tags/tag8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XVWgTkjMbVujD2QecUIw"/>
</p:tagLst>
</file>

<file path=ppt/tags/tag8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ID4aU8t4n2codZf2oBUg"/>
</p:tagLst>
</file>

<file path=ppt/tags/tag8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EAaPcg2YC_SqU_U443Hw"/>
</p:tagLst>
</file>

<file path=ppt/tags/tag8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8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8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xBu5NQx6cjEig4tpLLpvw"/>
</p:tagLst>
</file>

<file path=ppt/tags/tag8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8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8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8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XTCTJ2fc0M2BzIyU2hig"/>
</p:tagLst>
</file>

<file path=ppt/tags/tag8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NdHIp.7gTN4S2BXawKmg"/>
</p:tagLst>
</file>

<file path=ppt/tags/tag8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IHlDCemZ8TuEmYaWeb63Q"/>
</p:tagLst>
</file>

<file path=ppt/tags/tag8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8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T0GeMDOu_rMcsim.6SpQ"/>
</p:tagLst>
</file>

<file path=ppt/tags/tag8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NcWzr90.G.rIIfXg2TJQ"/>
</p:tagLst>
</file>

<file path=ppt/tags/tag8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LJIxjlOxxml3namjwGQ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3jeJ.WONfaIwKWzJf_cw"/>
</p:tagLst>
</file>

<file path=ppt/tags/tag8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oiJb87S_idNv1hUZUxtA"/>
</p:tagLst>
</file>

<file path=ppt/tags/tag8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8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ZqUi9rXL.ysD9JxhhYjw"/>
</p:tagLst>
</file>

<file path=ppt/tags/tag8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0AP_Ju3pPckrrE56Typw"/>
</p:tagLst>
</file>

<file path=ppt/tags/tag8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CLcTc11HfZR3XbuLMX3Q"/>
</p:tagLst>
</file>

<file path=ppt/tags/tag8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rlDMg2UlYOfZ98_592BQ"/>
</p:tagLst>
</file>

<file path=ppt/tags/tag8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n8MYT.NiwGB3CcO4bkrg"/>
</p:tagLst>
</file>

<file path=ppt/tags/tag8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BI9SuSBq3.FsfoXnKH0Q"/>
</p:tagLst>
</file>

<file path=ppt/tags/tag8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PS.Er6mnYd3vpMM25jLQ"/>
</p:tagLst>
</file>

<file path=ppt/tags/tag8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xV.BGDK1TGInnaUTeU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vQXHfSdjDzwBZT4xb.lQ"/>
</p:tagLst>
</file>

<file path=ppt/tags/tag9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SKB7L4JHkVSVvBwSDtg"/>
</p:tagLst>
</file>

<file path=ppt/tags/tag9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t024V0lbuVKPdxdk3LdA"/>
</p:tagLst>
</file>

<file path=ppt/tags/tag9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9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ghDBl5xywV9UmmtNL51g"/>
</p:tagLst>
</file>

<file path=ppt/tags/tag9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GRWaMA4SvOcBHAm4WbAg"/>
</p:tagLst>
</file>

<file path=ppt/tags/tag9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UX_WdDteZTF3KJdpMrQvQ"/>
</p:tagLst>
</file>

<file path=ppt/tags/tag9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12Al8Zclr.76r6ypmMhQ"/>
</p:tagLst>
</file>

<file path=ppt/tags/tag9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7IWajnR6OR5sc0LCFzvA"/>
</p:tagLst>
</file>

<file path=ppt/tags/tag9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zZKn0oywuBTN8rylbSkw"/>
</p:tagLst>
</file>

<file path=ppt/tags/tag9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1VBVkkEby_ZBDCFBzPvy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AInhH8pGMphgEwdz0H0w"/>
</p:tagLst>
</file>

<file path=ppt/tags/tag9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RZELgz1z7fXjLKKWmxkcQ"/>
</p:tagLst>
</file>

<file path=ppt/tags/tag9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fhoCkWVlqx4P9Zt5rX1A"/>
</p:tagLst>
</file>

<file path=ppt/tags/tag9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vLR405DQRAx1FFSAxYBw"/>
</p:tagLst>
</file>

<file path=ppt/tags/tag9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IhlrrvNclP8Zmp3fVpbQ"/>
</p:tagLst>
</file>

<file path=ppt/tags/tag9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yl1AdcgKWu8yjJItKI3WQ"/>
</p:tagLst>
</file>

<file path=ppt/tags/tag9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9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Ssfq1YdDQ2CZ.Nw2Ud8g"/>
</p:tagLst>
</file>

<file path=ppt/tags/tag9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9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Vi3djkT0Cqe0UDiXxpKg"/>
</p:tagLst>
</file>

<file path=ppt/tags/tag9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ZfyihvG40K48sWSTbK2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uVI0zJ3IYEUlVqnAIJhg"/>
</p:tagLst>
</file>

<file path=ppt/tags/tag9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fvoVT6jYRhgbDbYQ1C6KA"/>
</p:tagLst>
</file>

<file path=ppt/tags/tag9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9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_NZTz0fuUFhZp54d0lIg"/>
</p:tagLst>
</file>

<file path=ppt/tags/tag9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qpHXRDgrbkHL_rkvw0.w"/>
</p:tagLst>
</file>

<file path=ppt/tags/tag9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iu9zHR9z1ka0170hz8doQ"/>
</p:tagLst>
</file>

<file path=ppt/tags/tag9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n8bBKvPEm7l_zkYDwQYTg"/>
</p:tagLst>
</file>

<file path=ppt/tags/tag9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8Bcp.HdgIYwru0PXNOpQ"/>
</p:tagLst>
</file>

<file path=ppt/tags/tag9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p6qQuqS8KSHwXsAPjGJdw"/>
</p:tagLst>
</file>

<file path=ppt/tags/tag9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kh5qpy7KvuZ.fUv7IF8Q"/>
</p:tagLst>
</file>

<file path=ppt/tags/tag9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R57XzBEOOmrCQVAGGEk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JXxzBr.UX2vghTcczkvA"/>
</p:tagLst>
</file>

<file path=ppt/tags/tag9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RR28moS6V21e.Xo6gNYCA"/>
</p:tagLst>
</file>

<file path=ppt/tags/tag9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ePCDzdg.tzzRpzACFu6w"/>
</p:tagLst>
</file>

<file path=ppt/tags/tag9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9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9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9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9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9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ags/tag9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qvyL93hWznw1NnbQ0RZg"/>
</p:tagLst>
</file>

<file path=ppt/tags/tag9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r4kSnz44cP8dGKjTp.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9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5_r8g5b7VhS4BoXQ3hXDw"/>
</p:tagLst>
</file>

<file path=ppt/tags/tag9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vh0njq6qFPxVoJriLGrQ"/>
</p:tagLst>
</file>

<file path=ppt/tags/tag9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mCA0i3lzSbp2ZYolXV3Q"/>
</p:tagLst>
</file>

<file path=ppt/tags/tag9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CtDtEM9ztQ27XGW0s0SA"/>
</p:tagLst>
</file>

<file path=ppt/tags/tag9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pSHYGOy1Vlg85HGemiQw"/>
</p:tagLst>
</file>

<file path=ppt/tags/tag9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5HSFz_jRe.q7tqgfkwYA"/>
</p:tagLst>
</file>

<file path=ppt/tags/tag9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TZNIYWNFSt_vxTcAHBSA"/>
</p:tagLst>
</file>

<file path=ppt/tags/tag9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ZC5tmDW8C9KyywyVzBoug"/>
</p:tagLst>
</file>

<file path=ppt/tags/tag9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2QH2z5NJEoUTlVZq2Mz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m4.NNSxpL9xQ3qBUSTnQ"/>
</p:tagLst>
</file>

<file path=ppt/tags/tag9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.SHfKOxCSMxc3RMJ3bzg"/>
</p:tagLst>
</file>

<file path=ppt/tags/tag9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qQcu3h8sZzAkPslDwkkA"/>
</p:tagLst>
</file>

<file path=ppt/tags/tag9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LqyTT3wG80NoULiwr4ng"/>
</p:tagLst>
</file>

<file path=ppt/tags/tag9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6C1fSS0304Sfm5Z9Cl72A"/>
</p:tagLst>
</file>

<file path=ppt/tags/tag9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NxHTqDLH7GaoqaCEul.w"/>
</p:tagLst>
</file>

<file path=ppt/tags/tag9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AuGcyTSnIVd0p9.dwZTw"/>
</p:tagLst>
</file>

<file path=ppt/tags/tag9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4gLI6Z.P4o.LkO5Mnb.w"/>
</p:tagLst>
</file>

<file path=ppt/tags/tag9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lY41S1HfabUi4q9T8w6g"/>
</p:tagLst>
</file>

<file path=ppt/tags/tag9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TegU9_k_qk1zQTjPcanA"/>
</p:tagLst>
</file>

<file path=ppt/tags/tag9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ogiBne4RmD_lcbWKsoM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lSzx_Xg.7TdIHYtNCFNg"/>
</p:tagLst>
</file>

<file path=ppt/tags/tag9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CTHruSmz0qsfj1vYojt9Q"/>
</p:tagLst>
</file>

<file path=ppt/tags/tag9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9FVAo1cNQp4.p0H_4Q4sA"/>
</p:tagLst>
</file>

<file path=ppt/tags/tag9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BHYTyH5tjWJAlrdksDxQ"/>
</p:tagLst>
</file>

<file path=ppt/tags/tag9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2YV.hYglGAyO79s4tqUg"/>
</p:tagLst>
</file>

<file path=ppt/tags/tag9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COLUMNS" val="3"/>
  <p:tag name="BTFPLAYOUTENABLED" val="0"/>
</p:tagLst>
</file>

<file path=ppt/tags/tag9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UNIQUEID" val="17511"/>
</p:tagLst>
</file>

<file path=ppt/tags/tag9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YiKcBs3MaupdclthAPuw"/>
</p:tagLst>
</file>

<file path=ppt/tags/tag9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2ByfSxGM.z3kmrAYcgn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hpIVcem87Sd8VAn5V4TA"/>
</p:tagLst>
</file>

<file path=ppt/tags/tag9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B2lfXuLk5hPvKl_fG3mg"/>
</p:tagLst>
</file>

<file path=ppt/tags/tag9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eCmVzy6rswUbCLT9mKvA"/>
</p:tagLst>
</file>

<file path=ppt/tags/tag9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CPfXj2Ybahu460a_cE9A"/>
</p:tagLst>
</file>

<file path=ppt/tags/tag9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YrI0I0L8bRTmJ3aV1zag"/>
</p:tagLst>
</file>

<file path=ppt/tags/tag9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n1Wp2Sr93Hcfw857jOjw"/>
</p:tagLst>
</file>

<file path=ppt/tags/tag9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6eZjKtEitYx7ty4yanaZQ"/>
</p:tagLst>
</file>

<file path=ppt/tags/tag9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eMsm9BA_G6IR8LP3tGmg"/>
</p:tagLst>
</file>

<file path=ppt/tags/tag9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wPenxNsapr5kaPXxV00A"/>
</p:tagLst>
</file>

<file path=ppt/tags/tag9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ElCjK23YnZkmfJsMhAEA"/>
</p:tagLst>
</file>

<file path=ppt/tags/tag9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lUSlgphshrgWmpRmYWt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JdzywWwk8.29G54a.dVw"/>
</p:tagLst>
</file>

<file path=ppt/tags/tag9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mZ4jYdOWcx6GgqXEma9g"/>
</p:tagLst>
</file>

<file path=ppt/tags/tag9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_XQzOyCyJbhQYF5d_2NA"/>
</p:tagLst>
</file>

<file path=ppt/tags/tag9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U95NVK5HB_hYrKJB6_xQ"/>
</p:tagLst>
</file>

<file path=ppt/tags/tag9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ok5T40w2B6Lh7CwHXkw"/>
</p:tagLst>
</file>

<file path=ppt/tags/tag9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U8r4q.8Y_szjvt2oW0deQ"/>
</p:tagLst>
</file>

<file path=ppt/tags/tag9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YI7XDr8WmCX21S1d.RGg"/>
</p:tagLst>
</file>

<file path=ppt/tags/tag9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9zil2B24C1k3tGKUcz7Ig"/>
</p:tagLst>
</file>

<file path=ppt/tags/tag9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YPhDX1cLodbr_B2rFHJA"/>
</p:tagLst>
</file>

<file path=ppt/tags/tag9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f22DPB4aNGC8mvW8eWsg"/>
</p:tagLst>
</file>

<file path=ppt/tags/tag9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VDBM5ZaVZrgvr6_IkA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iihKNLVBFEHyxhjBFOyg"/>
</p:tagLst>
</file>

<file path=ppt/tags/tag9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XxBVQ3UjcWQgYbJE_GCw"/>
</p:tagLst>
</file>

<file path=ppt/tags/tag9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oebIgprT_4k98MGqxeVA"/>
</p:tagLst>
</file>

<file path=ppt/tags/tag9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a2ETRoiTwHFfMriWnUdg"/>
</p:tagLst>
</file>

<file path=ppt/tags/tag9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ecmSA4Roiiigw.9HSIvQ"/>
</p:tagLst>
</file>

<file path=ppt/tags/tag9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9EHRkgRVeP_heT5IxUtg"/>
</p:tagLst>
</file>

<file path=ppt/tags/tag9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XGA8VChCZ7yGGrjp8VgA"/>
</p:tagLst>
</file>

<file path=ppt/tags/tag9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O4ZDUnq5ufO4lO5_onCKg"/>
</p:tagLst>
</file>

<file path=ppt/tags/tag9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rgqRhcD8E5wfuKPLhSog"/>
</p:tagLst>
</file>

<file path=ppt/tags/tag9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TFPLAYOUTENABLED" val="1"/>
</p:tagLst>
</file>

<file path=ppt/tags/tag9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J7XvRtZzrH145WemEokA"/>
</p:tagLst>
</file>

<file path=ppt/theme/theme1.xml><?xml version="1.0" encoding="utf-8"?>
<a:theme xmlns:a="http://schemas.openxmlformats.org/drawingml/2006/main" name="Bain Core">
  <a:themeElements>
    <a:clrScheme name="Bain">
      <a:dk1>
        <a:srgbClr val="000000"/>
      </a:dk1>
      <a:lt1>
        <a:srgbClr val="FFFFFF"/>
      </a:lt1>
      <a:dk2>
        <a:srgbClr val="D6D6D6"/>
      </a:dk2>
      <a:lt2>
        <a:srgbClr val="5C5C5C"/>
      </a:lt2>
      <a:accent1>
        <a:srgbClr val="B4B4B4"/>
      </a:accent1>
      <a:accent2>
        <a:srgbClr val="D6D6D6"/>
      </a:accent2>
      <a:accent3>
        <a:srgbClr val="CC0000"/>
      </a:accent3>
      <a:accent4>
        <a:srgbClr val="46647B"/>
      </a:accent4>
      <a:accent5>
        <a:srgbClr val="507867"/>
      </a:accent5>
      <a:accent6>
        <a:srgbClr val="973B74"/>
      </a:accent6>
      <a:hlink>
        <a:srgbClr val="46647B"/>
      </a:hlink>
      <a:folHlink>
        <a:srgbClr val="7891A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36000" tIns="36000" rIns="36000" bIns="36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ctr">
          <a:buNone/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 cap="flat">
          <a:solidFill>
            <a:schemeClr val="tx1"/>
          </a:solidFill>
          <a:miter lim="800000"/>
          <a:tailEnd type="none" w="med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36000" tIns="36000" rIns="36000" bIns="36000" rtlCol="0">
        <a:spAutoFit/>
      </a:bodyPr>
      <a:lstStyle>
        <a:defPPr marL="0" indent="0">
          <a:buNone/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ain Core On Screen Show (16_9).potx" id="{56CF97D2-A744-43CA-AE15-0214FF29DAC4}" vid="{A64E784E-EE2A-4031-BBD4-3B52B2D870F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2359d12-4d13-4e82-89fe-79087d05c7f0">
      <Terms xmlns="http://schemas.microsoft.com/office/infopath/2007/PartnerControls"/>
    </lcf76f155ced4ddcb4097134ff3c332f>
    <TaxCatchAll xmlns="61d0fd8e-703f-4aec-bec3-0835d0dc0798" xsi:nil="true"/>
    <xSherpaClassifyTag xmlns="d2359d12-4d13-4e82-89fe-79087d05c7f0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C5BFFE099510747B2A593DE7A268783" ma:contentTypeVersion="16" ma:contentTypeDescription="Create a new document." ma:contentTypeScope="" ma:versionID="d97c6b618c7db4da61959977bf9e5c08">
  <xsd:schema xmlns:xsd="http://www.w3.org/2001/XMLSchema" xmlns:xs="http://www.w3.org/2001/XMLSchema" xmlns:p="http://schemas.microsoft.com/office/2006/metadata/properties" xmlns:ns2="d2359d12-4d13-4e82-89fe-79087d05c7f0" xmlns:ns3="61d0fd8e-703f-4aec-bec3-0835d0dc0798" targetNamespace="http://schemas.microsoft.com/office/2006/metadata/properties" ma:root="true" ma:fieldsID="0493f0a4a4e26df8af41ab9516ab15cf" ns2:_="" ns3:_="">
    <xsd:import namespace="d2359d12-4d13-4e82-89fe-79087d05c7f0"/>
    <xsd:import namespace="61d0fd8e-703f-4aec-bec3-0835d0dc079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xSherpaClassifyTag" minOccurs="0"/>
                <xsd:element ref="ns2:MediaServiceObjectDetectorVersions" minOccurs="0"/>
                <xsd:element ref="ns2:MediaServiceDateTaken" minOccurs="0"/>
                <xsd:element ref="ns2:MediaServiceLocation" minOccurs="0"/>
                <xsd:element ref="ns2:MediaServiceSearchPropertie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359d12-4d13-4e82-89fe-79087d05c7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4b166abb-7d38-406f-9233-2f33b10aef2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xSherpaClassifyTag" ma:index="18" nillable="true" ma:displayName="xSherpaClassifyTag" ma:indexed="true" ma:internalName="xSherpaClassifyTag">
      <xsd:simpleType>
        <xsd:restriction base="dms:Text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2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LengthInSeconds" ma:index="23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1d0fd8e-703f-4aec-bec3-0835d0dc079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5c6381f5-edaf-4f16-981d-142cc98b71f2}" ma:internalName="TaxCatchAll" ma:showField="CatchAllData" ma:web="61d0fd8e-703f-4aec-bec3-0835d0dc07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FD632C3-CC3F-4EEB-8155-587628A87234}">
  <ds:schemaRefs>
    <ds:schemaRef ds:uri="61d0fd8e-703f-4aec-bec3-0835d0dc0798"/>
    <ds:schemaRef ds:uri="d2359d12-4d13-4e82-89fe-79087d05c7f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AD835C2C-3CD2-40BE-BE8B-84BB9926EAC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6492D96-6C42-4360-9993-A9D1290D83F1}">
  <ds:schemaRefs>
    <ds:schemaRef ds:uri="61d0fd8e-703f-4aec-bec3-0835d0dc0798"/>
    <ds:schemaRef ds:uri="d2359d12-4d13-4e82-89fe-79087d05c7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ain Core On Screen Show (16_9)</Template>
  <TotalTime>0</TotalTime>
  <Words>7870</Words>
  <Application>Microsoft Office PowerPoint</Application>
  <PresentationFormat>Widescreen</PresentationFormat>
  <Paragraphs>2537</Paragraphs>
  <Slides>35</Slides>
  <Notes>30</Notes>
  <HiddenSlides>15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5</vt:i4>
      </vt:variant>
    </vt:vector>
  </HeadingPairs>
  <TitlesOfParts>
    <vt:vector size="39" baseType="lpstr">
      <vt:lpstr>Arial</vt:lpstr>
      <vt:lpstr>Calibri</vt:lpstr>
      <vt:lpstr>Bain Core</vt:lpstr>
      <vt:lpstr>think-cell Slide</vt:lpstr>
      <vt:lpstr>PMDR Data Visualization Templates</vt:lpstr>
      <vt:lpstr>Templates | Overview</vt:lpstr>
      <vt:lpstr>Portfolio alignment development by financed emissions</vt:lpstr>
      <vt:lpstr>Portfolio alignment development by financed emissions</vt:lpstr>
      <vt:lpstr>Portfolio alignment development by invested capital</vt:lpstr>
      <vt:lpstr>Portfolio alignment development by invested capital</vt:lpstr>
      <vt:lpstr>Portfolio alignment development by PortCos</vt:lpstr>
      <vt:lpstr>Portfolio alignment development by PortCos</vt:lpstr>
      <vt:lpstr>Portfolio alignment by fund and financed emissions</vt:lpstr>
      <vt:lpstr>Portfolio alignment by fund and financed emissions</vt:lpstr>
      <vt:lpstr>Portfolio alignment by fund and invested capital</vt:lpstr>
      <vt:lpstr>Portfolio alignment by fund and invested capital</vt:lpstr>
      <vt:lpstr>Portfolio alignment by fund and PortCos</vt:lpstr>
      <vt:lpstr>Portfolio alignment by fund and PortCos</vt:lpstr>
      <vt:lpstr>Portfolio alignment by sector and financed emissions</vt:lpstr>
      <vt:lpstr>Portfolio alignment by sector and financed emissions</vt:lpstr>
      <vt:lpstr>Portfolio alignment by sector and invested capital</vt:lpstr>
      <vt:lpstr>Portfolio alignment by sector and invested capital</vt:lpstr>
      <vt:lpstr>Portfolio alignment by sector and PortCos</vt:lpstr>
      <vt:lpstr>Portfolio alignment by sector and PortCos</vt:lpstr>
      <vt:lpstr>Portfolio alignment by region and financed emissions</vt:lpstr>
      <vt:lpstr>Portfolio alignment by region and financed emissions</vt:lpstr>
      <vt:lpstr>Portfolio alignment by region and invested capital</vt:lpstr>
      <vt:lpstr>Portfolio alignment by region and invested capital</vt:lpstr>
      <vt:lpstr>Portfolio alignment by region and PortCos</vt:lpstr>
      <vt:lpstr>Portfolio alignment by region and PortCos</vt:lpstr>
      <vt:lpstr>PortCo alignment development by invested capital</vt:lpstr>
      <vt:lpstr>PortCo alignment development by invested capital</vt:lpstr>
      <vt:lpstr>PortCo alignment development by financed emissions</vt:lpstr>
      <vt:lpstr>PortCo alignment development by financed emissions</vt:lpstr>
      <vt:lpstr>Portfolio progress since acquisition by PortCos</vt:lpstr>
      <vt:lpstr>Portfolio progress since acquisition by PortCos</vt:lpstr>
      <vt:lpstr>PortCos by financed emissions and Alignment Scale</vt:lpstr>
      <vt:lpstr>PortCos by financed emissions, years since investment and invested capital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S1 - Proposed workplan July</dc:title>
  <dc:creator>Lussi, Leora</dc:creator>
  <cp:lastModifiedBy>Lussi, Leora</cp:lastModifiedBy>
  <cp:revision>3</cp:revision>
  <cp:lastPrinted>2017-02-15T14:23:56Z</cp:lastPrinted>
  <dcterms:created xsi:type="dcterms:W3CDTF">2024-06-27T15:11:28Z</dcterms:created>
  <dcterms:modified xsi:type="dcterms:W3CDTF">2024-11-19T20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5BFFE099510747B2A593DE7A268783</vt:lpwstr>
  </property>
  <property fmtid="{D5CDD505-2E9C-101B-9397-08002B2CF9AE}" pid="3" name="MediaServiceImageTags">
    <vt:lpwstr/>
  </property>
</Properties>
</file>